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80" r:id="rId3"/>
    <p:sldId id="278" r:id="rId4"/>
    <p:sldId id="257" r:id="rId5"/>
    <p:sldId id="258" r:id="rId6"/>
    <p:sldId id="260" r:id="rId7"/>
    <p:sldId id="261" r:id="rId8"/>
    <p:sldId id="263" r:id="rId9"/>
    <p:sldId id="264" r:id="rId10"/>
    <p:sldId id="265" r:id="rId11"/>
    <p:sldId id="269" r:id="rId12"/>
    <p:sldId id="288" r:id="rId13"/>
    <p:sldId id="270" r:id="rId14"/>
    <p:sldId id="271" r:id="rId15"/>
    <p:sldId id="272" r:id="rId16"/>
    <p:sldId id="281" r:id="rId17"/>
    <p:sldId id="282" r:id="rId18"/>
    <p:sldId id="285" r:id="rId19"/>
    <p:sldId id="286" r:id="rId20"/>
    <p:sldId id="287" r:id="rId21"/>
    <p:sldId id="284" r:id="rId22"/>
    <p:sldId id="283" r:id="rId23"/>
    <p:sldId id="279" r:id="rId24"/>
    <p:sldId id="277" r:id="rId2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79484" autoAdjust="0"/>
  </p:normalViewPr>
  <p:slideViewPr>
    <p:cSldViewPr showGuides="1">
      <p:cViewPr varScale="1">
        <p:scale>
          <a:sx n="102" d="100"/>
          <a:sy n="102" d="100"/>
        </p:scale>
        <p:origin x="896" y="2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67" d="100"/>
          <a:sy n="67" d="100"/>
        </p:scale>
        <p:origin x="3120" y="7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61328" y="8532440"/>
            <a:ext cx="720000" cy="3600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60D939C7-2787-4217-8D0E-CE3CB5A62EC6}" type="datetime1">
              <a:rPr lang="en-GB" sz="1000" smtClean="0"/>
              <a:pPr/>
              <a:t>16/02/2022</a:t>
            </a:fld>
            <a:endParaRPr lang="de-DE" sz="10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7192" y="8532440"/>
            <a:ext cx="2663776" cy="360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DE" sz="1000"/>
              <a:t>Information module OMS and wM-Bus ▪ Juni  2020 ▪ ista International GmbH</a:t>
            </a:r>
            <a:endParaRPr lang="de-DE" sz="10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249000" y="8532440"/>
            <a:ext cx="360000" cy="36877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ctr"/>
            <a:fld id="{E5BBCCF6-F8A8-4C49-BF3D-CA1AA74CA975}" type="slidenum">
              <a:rPr lang="de-DE" sz="1000" smtClean="0"/>
              <a:pPr algn="ctr"/>
              <a:t>‹#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 dt="0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899592"/>
            <a:ext cx="5040560" cy="2835315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6672" y="4067944"/>
            <a:ext cx="5904000" cy="40324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61328" y="8532440"/>
            <a:ext cx="720000" cy="36001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EF660D4A-C85E-421D-BAA6-C11D2F152E2B}" type="datetime1">
              <a:rPr lang="en-GB" sz="1000" smtClean="0"/>
              <a:pPr/>
              <a:t>16/02/2022</a:t>
            </a:fld>
            <a:endParaRPr lang="de-DE" sz="1000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477192" y="8532440"/>
            <a:ext cx="2663776" cy="36004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DE" sz="1000"/>
              <a:t>Information module OMS and wM-Bus ▪ Juni  2020 ▪ ista International GmbH</a:t>
            </a:r>
            <a:endParaRPr lang="de-DE" sz="1000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3249000" y="8532440"/>
            <a:ext cx="360000" cy="36877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E5BBCCF6-F8A8-4C49-BF3D-CA1AA74CA975}" type="slidenum">
              <a:rPr lang="de-DE" sz="1000" smtClean="0"/>
              <a:pPr/>
              <a:t>‹#›</a:t>
            </a:fld>
            <a:endParaRPr lang="de-DE" sz="1000" dirty="0"/>
          </a:p>
        </p:txBody>
      </p:sp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lnSpc>
        <a:spcPct val="110000"/>
      </a:lnSpc>
      <a:spcBef>
        <a:spcPts val="600"/>
      </a:spcBef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600"/>
      </a:spcBef>
      <a:spcAft>
        <a:spcPts val="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lnSpc>
        <a:spcPct val="110000"/>
      </a:lnSpc>
      <a:spcBef>
        <a:spcPts val="400"/>
      </a:spcBef>
      <a:spcAft>
        <a:spcPts val="0"/>
      </a:spcAft>
      <a:buClr>
        <a:schemeClr val="bg2"/>
      </a:buClr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24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BBCCF6-F8A8-4C49-BF3D-CA1AA74CA975}" type="slidenum">
              <a:rPr lang="de-DE" sz="1000"/>
              <a:pPr/>
              <a:t>1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0519871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000"/>
              <a:t>Information module OMS and wM-Bus ▪ Juni  2020 ▪ ista International GmbH</a:t>
            </a:r>
            <a:endParaRPr lang="de-DE" sz="1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0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7982789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e gateway ista G2.0 supports the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 mode C1 and is therefore unidirectional.</a:t>
            </a:r>
            <a:r>
              <a:rPr lang="en-GB" baseline="0" dirty="0"/>
              <a:t> The terminals send their information at regular intervals, which can then be received by an appropriate gateway. It is therefore not possible to (re) </a:t>
            </a:r>
            <a:r>
              <a:rPr lang="en-GB" baseline="0" dirty="0" err="1"/>
              <a:t>parametrise</a:t>
            </a:r>
            <a:r>
              <a:rPr lang="en-GB" baseline="0" dirty="0"/>
              <a:t> or network the devices via OMS.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1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8163033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 conventional residential apartments, the reception range of the gateway with OMS radio is c. 15 metres.</a:t>
            </a:r>
            <a:r>
              <a:rPr lang="en-GB" baseline="0"/>
              <a:t>  This value can vary significantly depending on local conditions such as the construction material, the presence of lifts or fire protection walls and other factors.</a:t>
            </a:r>
          </a:p>
          <a:p>
            <a:r>
              <a:rPr lang="en-GB" baseline="0"/>
              <a:t>Installation recommendations:</a:t>
            </a:r>
          </a:p>
          <a:p>
            <a:pPr lvl="2"/>
            <a:r>
              <a:rPr lang="en-GB" baseline="0"/>
              <a:t>One gateway on every second floor</a:t>
            </a:r>
          </a:p>
          <a:p>
            <a:pPr lvl="3"/>
            <a:r>
              <a:rPr lang="en-GB" baseline="0"/>
              <a:t>Starting with the ground floor, if the devices are installed in the basement</a:t>
            </a:r>
          </a:p>
          <a:p>
            <a:pPr lvl="3"/>
            <a:r>
              <a:rPr lang="en-GB" baseline="0"/>
              <a:t>Starting with the first floor, if there is no basement or if there are no devices installed there.</a:t>
            </a:r>
          </a:p>
          <a:p>
            <a:pPr lvl="2"/>
            <a:r>
              <a:rPr lang="en-GB" baseline="0"/>
              <a:t>Spacing of gateways in long buildings: max. 30 m</a:t>
            </a:r>
          </a:p>
          <a:p>
            <a:pPr lvl="2"/>
            <a:r>
              <a:rPr lang="en-GB" baseline="0"/>
              <a:t>Installation in public areas with LTE receiver</a:t>
            </a:r>
            <a:br>
              <a:rPr lang="en-GB" baseline="0"/>
            </a:br>
            <a:r>
              <a:rPr lang="en-GB" baseline="0"/>
              <a:t>WARNING: Do not install in safety stairwells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8358397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In conventional residential apartments, the reception range of the gateway with OMS radio is c. 15 metres.</a:t>
            </a:r>
            <a:r>
              <a:rPr lang="en-GB" baseline="0"/>
              <a:t>  This value can vary significantly depending on local conditions such as the construction material, the presence of lifts or fire protection walls and other factors.</a:t>
            </a:r>
          </a:p>
          <a:p>
            <a:r>
              <a:rPr lang="en-GB" baseline="0"/>
              <a:t>Installation recommendations:</a:t>
            </a:r>
          </a:p>
          <a:p>
            <a:pPr lvl="2"/>
            <a:r>
              <a:rPr lang="en-GB" baseline="0"/>
              <a:t>One gateway on every second floor</a:t>
            </a:r>
          </a:p>
          <a:p>
            <a:pPr lvl="3"/>
            <a:r>
              <a:rPr lang="en-GB" baseline="0"/>
              <a:t>Starting with the ground floor, if the devices are installed in the basement</a:t>
            </a:r>
          </a:p>
          <a:p>
            <a:pPr lvl="3"/>
            <a:r>
              <a:rPr lang="en-GB" baseline="0"/>
              <a:t>Starting with the first floor, if there is no basement or if there are no devices installed there.</a:t>
            </a:r>
          </a:p>
          <a:p>
            <a:pPr lvl="2"/>
            <a:r>
              <a:rPr lang="en-GB" baseline="0"/>
              <a:t>Spacing of gateways in long buildings: max. 30 m</a:t>
            </a:r>
          </a:p>
          <a:p>
            <a:pPr lvl="2"/>
            <a:r>
              <a:rPr lang="en-GB" baseline="0"/>
              <a:t>Installation in public areas with LTE receiver</a:t>
            </a:r>
            <a:br>
              <a:rPr lang="en-GB" baseline="0"/>
            </a:br>
            <a:r>
              <a:rPr lang="en-GB" baseline="0"/>
              <a:t>WARNING: Do not install in safety stairwells</a:t>
            </a:r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126597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684498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000"/>
              <a:t>Information module OMS and wM-Bus ▪ Juni  2020 ▪ ista International GmbH</a:t>
            </a:r>
            <a:endParaRPr lang="de-DE" sz="1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6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7982789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172492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172492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19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1724926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20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172492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8046A6-66FB-4A17-ACEC-AC221BE1CD84}" type="slidenum">
              <a:rPr lang="de-DE" altLang="de-DE" smtClean="0"/>
              <a:pPr/>
              <a:t>2</a:t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Arial" charset="0"/>
              </a:rPr>
              <a:t>All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long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ymph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®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attery-ope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r>
              <a:rPr lang="de-DE" dirty="0" err="1">
                <a:solidFill>
                  <a:srgbClr val="000000"/>
                </a:solidFill>
                <a:latin typeface="Arial" charset="0"/>
              </a:rPr>
              <a:t>Bidirection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: All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o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s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eceiv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ata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In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ddi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ent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m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also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ac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th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must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howev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troll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m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figu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(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"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unction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rincip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"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scrip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).</a:t>
            </a:r>
          </a:p>
          <a:p>
            <a:r>
              <a:rPr lang="de-DE" b="1" dirty="0">
                <a:solidFill>
                  <a:srgbClr val="84B400"/>
                </a:solidFill>
                <a:latin typeface="Arial" charset="0"/>
              </a:rPr>
              <a:t>Pulse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odule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oreig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a potential-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re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tac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utpu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g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ul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puls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;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foreign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an S0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output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pulsonic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S0 pulse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Heat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eters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 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Non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version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vailab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g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ymph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Th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nl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via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stablish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via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ic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rfac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.</a:t>
            </a:r>
          </a:p>
          <a:p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Electricity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eters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The EasyMeter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lectricit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t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ower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</p:txBody>
      </p:sp>
      <p:sp>
        <p:nvSpPr>
          <p:cNvPr id="122883" name="Foliennummernplatzhalt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6818" eaLnBrk="0" hangingPunct="0">
              <a:buSzPct val="100000"/>
            </a:pPr>
            <a:fld id="{C27E04D2-59DF-48AC-848F-A918F93FF5B6}" type="slidenum">
              <a:rPr lang="de-DE" smtClean="0">
                <a:solidFill>
                  <a:srgbClr val="000000"/>
                </a:solidFill>
                <a:latin typeface="Arial" charset="0"/>
              </a:rPr>
              <a:pPr defTabSz="896818" eaLnBrk="0" hangingPunct="0">
                <a:buSzPct val="100000"/>
              </a:pPr>
              <a:t>21</a:t>
            </a:fld>
            <a:endParaRPr lang="de-DE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886" name="Folienbildplatzhalter 13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6250" y="900113"/>
            <a:ext cx="5040313" cy="2835275"/>
          </a:xfrm>
          <a:ln/>
        </p:spPr>
      </p:sp>
      <p:sp>
        <p:nvSpPr>
          <p:cNvPr id="122887" name="Fußzeilenplatzhalter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pPr defTabSz="898284" eaLnBrk="0" hangingPunct="0">
              <a:buSzPct val="100000"/>
            </a:pPr>
            <a:r>
              <a:rPr lang="de-DE" dirty="0" err="1">
                <a:solidFill>
                  <a:srgbClr val="000000"/>
                </a:solidFill>
                <a:latin typeface="Arial" charset="0"/>
              </a:rPr>
              <a:t>ista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nternational GmbH</a:t>
            </a:r>
          </a:p>
          <a:p>
            <a:pPr defTabSz="898284" eaLnBrk="0" hangingPunct="0">
              <a:buSzPct val="100000"/>
            </a:pPr>
            <a:r>
              <a:rPr lang="de-DE" b="1" dirty="0">
                <a:solidFill>
                  <a:srgbClr val="000000"/>
                </a:solidFill>
                <a:latin typeface="Arial" charset="0"/>
              </a:rPr>
              <a:t>Company </a:t>
            </a:r>
            <a:r>
              <a:rPr lang="de-DE" b="1" dirty="0" err="1">
                <a:solidFill>
                  <a:srgbClr val="000000"/>
                </a:solidFill>
                <a:latin typeface="Arial" charset="0"/>
              </a:rPr>
              <a:t>confidential</a:t>
            </a:r>
            <a:endParaRPr lang="de-DE" b="1" dirty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  <a:latin typeface="Arial" charset="0"/>
              </a:rPr>
              <a:t>All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long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ymph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®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attery-ope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r>
              <a:rPr lang="de-DE" dirty="0" err="1">
                <a:solidFill>
                  <a:srgbClr val="000000"/>
                </a:solidFill>
                <a:latin typeface="Arial" charset="0"/>
              </a:rPr>
              <a:t>Bidirection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: All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o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s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n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eceiv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ata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In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ddi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ent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m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End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also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ac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th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must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howev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troll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m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figu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(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"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unction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rincip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"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scrip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).</a:t>
            </a:r>
          </a:p>
          <a:p>
            <a:r>
              <a:rPr lang="de-DE" b="1" dirty="0">
                <a:solidFill>
                  <a:srgbClr val="84B400"/>
                </a:solidFill>
                <a:latin typeface="Arial" charset="0"/>
              </a:rPr>
              <a:t>Pulse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odule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oreig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a potential-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fre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tac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utpu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g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ul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puls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;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foreign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devices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an S0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output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pulsonic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FF0000"/>
                </a:solidFill>
                <a:latin typeface="Arial" charset="0"/>
              </a:rPr>
              <a:t> S0 pulse </a:t>
            </a:r>
            <a:r>
              <a:rPr lang="de-DE" dirty="0" err="1">
                <a:solidFill>
                  <a:srgbClr val="FF0000"/>
                </a:solidFill>
                <a:latin typeface="Arial" charset="0"/>
              </a:rPr>
              <a:t>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  <a:p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Heat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eters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 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Non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version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r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availab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with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gra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ymph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The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a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nl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b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via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stablishe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ion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via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ical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nterfac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f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sen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I.</a:t>
            </a:r>
          </a:p>
          <a:p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Electricity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 </a:t>
            </a:r>
            <a:r>
              <a:rPr lang="de-DE" b="1" dirty="0" err="1">
                <a:solidFill>
                  <a:srgbClr val="84B400"/>
                </a:solidFill>
                <a:latin typeface="Arial" charset="0"/>
              </a:rPr>
              <a:t>meters</a:t>
            </a:r>
            <a:r>
              <a:rPr lang="de-DE" b="1" dirty="0">
                <a:solidFill>
                  <a:srgbClr val="84B400"/>
                </a:solidFill>
                <a:latin typeface="Arial" charset="0"/>
              </a:rPr>
              <a:t>: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The EasyMeter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electricity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meter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is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connected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work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using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th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powersonic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3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radio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net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charset="0"/>
              </a:rPr>
              <a:t>optomodule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.</a:t>
            </a:r>
          </a:p>
        </p:txBody>
      </p:sp>
      <p:sp>
        <p:nvSpPr>
          <p:cNvPr id="122883" name="Foliennummernplatzhalt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6818" eaLnBrk="0" hangingPunct="0">
              <a:buSzPct val="100000"/>
            </a:pPr>
            <a:fld id="{C27E04D2-59DF-48AC-848F-A918F93FF5B6}" type="slidenum">
              <a:rPr lang="de-DE" smtClean="0">
                <a:solidFill>
                  <a:srgbClr val="000000"/>
                </a:solidFill>
                <a:latin typeface="Arial" charset="0"/>
              </a:rPr>
              <a:pPr defTabSz="896818" eaLnBrk="0" hangingPunct="0">
                <a:buSzPct val="100000"/>
              </a:pPr>
              <a:t>22</a:t>
            </a:fld>
            <a:endParaRPr lang="de-DE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886" name="Folienbildplatzhalter 13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6250" y="900113"/>
            <a:ext cx="5040313" cy="2835275"/>
          </a:xfrm>
          <a:ln/>
        </p:spPr>
      </p:sp>
      <p:sp>
        <p:nvSpPr>
          <p:cNvPr id="122887" name="Fußzeilenplatzhalter 1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pPr defTabSz="898284" eaLnBrk="0" hangingPunct="0">
              <a:buSzPct val="100000"/>
            </a:pPr>
            <a:r>
              <a:rPr lang="de-DE" dirty="0" err="1">
                <a:solidFill>
                  <a:srgbClr val="000000"/>
                </a:solidFill>
                <a:latin typeface="Arial" charset="0"/>
              </a:rPr>
              <a:t>ista</a:t>
            </a:r>
            <a:r>
              <a:rPr lang="de-DE" dirty="0">
                <a:solidFill>
                  <a:srgbClr val="000000"/>
                </a:solidFill>
                <a:latin typeface="Arial" charset="0"/>
              </a:rPr>
              <a:t> International GmbH</a:t>
            </a:r>
          </a:p>
          <a:p>
            <a:pPr defTabSz="898284" eaLnBrk="0" hangingPunct="0">
              <a:buSzPct val="100000"/>
            </a:pPr>
            <a:r>
              <a:rPr lang="de-DE" b="1" dirty="0">
                <a:solidFill>
                  <a:srgbClr val="000000"/>
                </a:solidFill>
                <a:latin typeface="Arial" charset="0"/>
              </a:rPr>
              <a:t>Company </a:t>
            </a:r>
            <a:r>
              <a:rPr lang="de-DE" b="1" dirty="0" err="1">
                <a:solidFill>
                  <a:srgbClr val="000000"/>
                </a:solidFill>
                <a:latin typeface="Arial" charset="0"/>
              </a:rPr>
              <a:t>confidential</a:t>
            </a:r>
            <a:endParaRPr lang="de-DE" b="1" dirty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8046A6-66FB-4A17-ACEC-AC221BE1CD84}" type="slidenum">
              <a:rPr lang="de-DE" altLang="de-DE" smtClean="0"/>
              <a:pPr/>
              <a:t>23</a:t>
            </a:fld>
            <a:endParaRPr lang="de-DE" altLang="de-DE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5BBCCF6-F8A8-4C49-BF3D-CA1AA74CA975}" type="slidenum">
              <a:rPr lang="de-DE" sz="1000"/>
              <a:pPr/>
              <a:t>2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051987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3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270716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  <a:endParaRPr lang="en-GB" sz="1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4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661987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17249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33840317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7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226922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 sz="1000"/>
              <a:t>Information module OMS and wM-Bus ▪ Juni  2020 ▪ ista International GmbH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8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val="1883576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z="1000"/>
              <a:t>Information module OMS and wM-Bus ▪ Juni  2020 ▪ ista International GmbH</a:t>
            </a:r>
            <a:endParaRPr lang="de-DE" sz="1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pPr/>
              <a:t>9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607483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|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F5D2771-759F-4439-B726-822DBC40CB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oup 21">
            <a:extLst>
              <a:ext uri="{FF2B5EF4-FFF2-40B4-BE49-F238E27FC236}">
                <a16:creationId xmlns:a16="http://schemas.microsoft.com/office/drawing/2014/main" id="{F42527CF-0C6A-45DF-AD03-6E0D04B1A71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690522" y="3284984"/>
            <a:ext cx="2810957" cy="1224136"/>
            <a:chOff x="10267265" y="5877328"/>
            <a:chExt cx="1157327" cy="504000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1A31238-B5C0-42EC-99DC-88A758A15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0053" y="5992722"/>
              <a:ext cx="144242" cy="110303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A4DB350-6291-4607-896B-61D0EA7FEE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8415" y="5989328"/>
              <a:ext cx="263029" cy="91636"/>
            </a:xfrm>
            <a:custGeom>
              <a:avLst/>
              <a:gdLst>
                <a:gd name="T0" fmla="*/ 1166 w 3567"/>
                <a:gd name="T1" fmla="*/ 1148 h 1249"/>
                <a:gd name="T2" fmla="*/ 1360 w 3567"/>
                <a:gd name="T3" fmla="*/ 1136 h 1249"/>
                <a:gd name="T4" fmla="*/ 1590 w 3567"/>
                <a:gd name="T5" fmla="*/ 1125 h 1249"/>
                <a:gd name="T6" fmla="*/ 1852 w 3567"/>
                <a:gd name="T7" fmla="*/ 1114 h 1249"/>
                <a:gd name="T8" fmla="*/ 2143 w 3567"/>
                <a:gd name="T9" fmla="*/ 1104 h 1249"/>
                <a:gd name="T10" fmla="*/ 2461 w 3567"/>
                <a:gd name="T11" fmla="*/ 1095 h 1249"/>
                <a:gd name="T12" fmla="*/ 2803 w 3567"/>
                <a:gd name="T13" fmla="*/ 1085 h 1249"/>
                <a:gd name="T14" fmla="*/ 3166 w 3567"/>
                <a:gd name="T15" fmla="*/ 1077 h 1249"/>
                <a:gd name="T16" fmla="*/ 3372 w 3567"/>
                <a:gd name="T17" fmla="*/ 991 h 1249"/>
                <a:gd name="T18" fmla="*/ 3408 w 3567"/>
                <a:gd name="T19" fmla="*/ 822 h 1249"/>
                <a:gd name="T20" fmla="*/ 3444 w 3567"/>
                <a:gd name="T21" fmla="*/ 652 h 1249"/>
                <a:gd name="T22" fmla="*/ 3480 w 3567"/>
                <a:gd name="T23" fmla="*/ 490 h 1249"/>
                <a:gd name="T24" fmla="*/ 3510 w 3567"/>
                <a:gd name="T25" fmla="*/ 343 h 1249"/>
                <a:gd name="T26" fmla="*/ 3536 w 3567"/>
                <a:gd name="T27" fmla="*/ 220 h 1249"/>
                <a:gd name="T28" fmla="*/ 3555 w 3567"/>
                <a:gd name="T29" fmla="*/ 130 h 1249"/>
                <a:gd name="T30" fmla="*/ 3565 w 3567"/>
                <a:gd name="T31" fmla="*/ 82 h 1249"/>
                <a:gd name="T32" fmla="*/ 3561 w 3567"/>
                <a:gd name="T33" fmla="*/ 74 h 1249"/>
                <a:gd name="T34" fmla="*/ 3522 w 3567"/>
                <a:gd name="T35" fmla="*/ 66 h 1249"/>
                <a:gd name="T36" fmla="*/ 3441 w 3567"/>
                <a:gd name="T37" fmla="*/ 54 h 1249"/>
                <a:gd name="T38" fmla="*/ 3319 w 3567"/>
                <a:gd name="T39" fmla="*/ 38 h 1249"/>
                <a:gd name="T40" fmla="*/ 3155 w 3567"/>
                <a:gd name="T41" fmla="*/ 23 h 1249"/>
                <a:gd name="T42" fmla="*/ 2947 w 3567"/>
                <a:gd name="T43" fmla="*/ 10 h 1249"/>
                <a:gd name="T44" fmla="*/ 2695 w 3567"/>
                <a:gd name="T45" fmla="*/ 2 h 1249"/>
                <a:gd name="T46" fmla="*/ 2476 w 3567"/>
                <a:gd name="T47" fmla="*/ 0 h 1249"/>
                <a:gd name="T48" fmla="*/ 2315 w 3567"/>
                <a:gd name="T49" fmla="*/ 1 h 1249"/>
                <a:gd name="T50" fmla="*/ 2127 w 3567"/>
                <a:gd name="T51" fmla="*/ 7 h 1249"/>
                <a:gd name="T52" fmla="*/ 1923 w 3567"/>
                <a:gd name="T53" fmla="*/ 24 h 1249"/>
                <a:gd name="T54" fmla="*/ 1726 w 3567"/>
                <a:gd name="T55" fmla="*/ 52 h 1249"/>
                <a:gd name="T56" fmla="*/ 1538 w 3567"/>
                <a:gd name="T57" fmla="*/ 90 h 1249"/>
                <a:gd name="T58" fmla="*/ 1358 w 3567"/>
                <a:gd name="T59" fmla="*/ 138 h 1249"/>
                <a:gd name="T60" fmla="*/ 1186 w 3567"/>
                <a:gd name="T61" fmla="*/ 196 h 1249"/>
                <a:gd name="T62" fmla="*/ 1024 w 3567"/>
                <a:gd name="T63" fmla="*/ 262 h 1249"/>
                <a:gd name="T64" fmla="*/ 869 w 3567"/>
                <a:gd name="T65" fmla="*/ 338 h 1249"/>
                <a:gd name="T66" fmla="*/ 727 w 3567"/>
                <a:gd name="T67" fmla="*/ 421 h 1249"/>
                <a:gd name="T68" fmla="*/ 593 w 3567"/>
                <a:gd name="T69" fmla="*/ 511 h 1249"/>
                <a:gd name="T70" fmla="*/ 470 w 3567"/>
                <a:gd name="T71" fmla="*/ 609 h 1249"/>
                <a:gd name="T72" fmla="*/ 358 w 3567"/>
                <a:gd name="T73" fmla="*/ 714 h 1249"/>
                <a:gd name="T74" fmla="*/ 257 w 3567"/>
                <a:gd name="T75" fmla="*/ 824 h 1249"/>
                <a:gd name="T76" fmla="*/ 168 w 3567"/>
                <a:gd name="T77" fmla="*/ 939 h 1249"/>
                <a:gd name="T78" fmla="*/ 91 w 3567"/>
                <a:gd name="T79" fmla="*/ 1060 h 1249"/>
                <a:gd name="T80" fmla="*/ 27 w 3567"/>
                <a:gd name="T81" fmla="*/ 1185 h 1249"/>
                <a:gd name="T82" fmla="*/ 67 w 3567"/>
                <a:gd name="T83" fmla="*/ 1242 h 1249"/>
                <a:gd name="T84" fmla="*/ 201 w 3567"/>
                <a:gd name="T85" fmla="*/ 1231 h 1249"/>
                <a:gd name="T86" fmla="*/ 335 w 3567"/>
                <a:gd name="T87" fmla="*/ 1219 h 1249"/>
                <a:gd name="T88" fmla="*/ 471 w 3567"/>
                <a:gd name="T89" fmla="*/ 1206 h 1249"/>
                <a:gd name="T90" fmla="*/ 605 w 3567"/>
                <a:gd name="T91" fmla="*/ 1195 h 1249"/>
                <a:gd name="T92" fmla="*/ 742 w 3567"/>
                <a:gd name="T93" fmla="*/ 1182 h 1249"/>
                <a:gd name="T94" fmla="*/ 879 w 3567"/>
                <a:gd name="T95" fmla="*/ 1171 h 1249"/>
                <a:gd name="T96" fmla="*/ 1015 w 3567"/>
                <a:gd name="T97" fmla="*/ 116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7" h="1249">
                  <a:moveTo>
                    <a:pt x="1084" y="1155"/>
                  </a:moveTo>
                  <a:lnTo>
                    <a:pt x="1166" y="1148"/>
                  </a:lnTo>
                  <a:lnTo>
                    <a:pt x="1259" y="1142"/>
                  </a:lnTo>
                  <a:lnTo>
                    <a:pt x="1360" y="1136"/>
                  </a:lnTo>
                  <a:lnTo>
                    <a:pt x="1471" y="1130"/>
                  </a:lnTo>
                  <a:lnTo>
                    <a:pt x="1590" y="1125"/>
                  </a:lnTo>
                  <a:lnTo>
                    <a:pt x="1717" y="1119"/>
                  </a:lnTo>
                  <a:lnTo>
                    <a:pt x="1852" y="1114"/>
                  </a:lnTo>
                  <a:lnTo>
                    <a:pt x="1994" y="1109"/>
                  </a:lnTo>
                  <a:lnTo>
                    <a:pt x="2143" y="1104"/>
                  </a:lnTo>
                  <a:lnTo>
                    <a:pt x="2299" y="1099"/>
                  </a:lnTo>
                  <a:lnTo>
                    <a:pt x="2461" y="1095"/>
                  </a:lnTo>
                  <a:lnTo>
                    <a:pt x="2630" y="1091"/>
                  </a:lnTo>
                  <a:lnTo>
                    <a:pt x="2803" y="1085"/>
                  </a:lnTo>
                  <a:lnTo>
                    <a:pt x="2982" y="1081"/>
                  </a:lnTo>
                  <a:lnTo>
                    <a:pt x="3166" y="1077"/>
                  </a:lnTo>
                  <a:lnTo>
                    <a:pt x="3354" y="1074"/>
                  </a:lnTo>
                  <a:lnTo>
                    <a:pt x="3372" y="991"/>
                  </a:lnTo>
                  <a:lnTo>
                    <a:pt x="3390" y="908"/>
                  </a:lnTo>
                  <a:lnTo>
                    <a:pt x="3408" y="822"/>
                  </a:lnTo>
                  <a:lnTo>
                    <a:pt x="3427" y="736"/>
                  </a:lnTo>
                  <a:lnTo>
                    <a:pt x="3444" y="652"/>
                  </a:lnTo>
                  <a:lnTo>
                    <a:pt x="3462" y="569"/>
                  </a:lnTo>
                  <a:lnTo>
                    <a:pt x="3480" y="490"/>
                  </a:lnTo>
                  <a:lnTo>
                    <a:pt x="3495" y="413"/>
                  </a:lnTo>
                  <a:lnTo>
                    <a:pt x="3510" y="343"/>
                  </a:lnTo>
                  <a:lnTo>
                    <a:pt x="3524" y="278"/>
                  </a:lnTo>
                  <a:lnTo>
                    <a:pt x="3536" y="220"/>
                  </a:lnTo>
                  <a:lnTo>
                    <a:pt x="3546" y="170"/>
                  </a:lnTo>
                  <a:lnTo>
                    <a:pt x="3555" y="130"/>
                  </a:lnTo>
                  <a:lnTo>
                    <a:pt x="3561" y="100"/>
                  </a:lnTo>
                  <a:lnTo>
                    <a:pt x="3565" y="82"/>
                  </a:lnTo>
                  <a:lnTo>
                    <a:pt x="3567" y="75"/>
                  </a:lnTo>
                  <a:lnTo>
                    <a:pt x="3561" y="74"/>
                  </a:lnTo>
                  <a:lnTo>
                    <a:pt x="3547" y="71"/>
                  </a:lnTo>
                  <a:lnTo>
                    <a:pt x="3522" y="66"/>
                  </a:lnTo>
                  <a:lnTo>
                    <a:pt x="3487" y="61"/>
                  </a:lnTo>
                  <a:lnTo>
                    <a:pt x="3441" y="54"/>
                  </a:lnTo>
                  <a:lnTo>
                    <a:pt x="3385" y="46"/>
                  </a:lnTo>
                  <a:lnTo>
                    <a:pt x="3319" y="38"/>
                  </a:lnTo>
                  <a:lnTo>
                    <a:pt x="3243" y="31"/>
                  </a:lnTo>
                  <a:lnTo>
                    <a:pt x="3155" y="23"/>
                  </a:lnTo>
                  <a:lnTo>
                    <a:pt x="3056" y="17"/>
                  </a:lnTo>
                  <a:lnTo>
                    <a:pt x="2947" y="10"/>
                  </a:lnTo>
                  <a:lnTo>
                    <a:pt x="2827" y="5"/>
                  </a:lnTo>
                  <a:lnTo>
                    <a:pt x="2695" y="2"/>
                  </a:lnTo>
                  <a:lnTo>
                    <a:pt x="2551" y="0"/>
                  </a:lnTo>
                  <a:lnTo>
                    <a:pt x="2476" y="0"/>
                  </a:lnTo>
                  <a:lnTo>
                    <a:pt x="2397" y="0"/>
                  </a:lnTo>
                  <a:lnTo>
                    <a:pt x="2315" y="1"/>
                  </a:lnTo>
                  <a:lnTo>
                    <a:pt x="2231" y="3"/>
                  </a:lnTo>
                  <a:lnTo>
                    <a:pt x="2127" y="7"/>
                  </a:lnTo>
                  <a:lnTo>
                    <a:pt x="2024" y="14"/>
                  </a:lnTo>
                  <a:lnTo>
                    <a:pt x="1923" y="24"/>
                  </a:lnTo>
                  <a:lnTo>
                    <a:pt x="1824" y="36"/>
                  </a:lnTo>
                  <a:lnTo>
                    <a:pt x="1726" y="52"/>
                  </a:lnTo>
                  <a:lnTo>
                    <a:pt x="1631" y="69"/>
                  </a:lnTo>
                  <a:lnTo>
                    <a:pt x="1538" y="90"/>
                  </a:lnTo>
                  <a:lnTo>
                    <a:pt x="1447" y="113"/>
                  </a:lnTo>
                  <a:lnTo>
                    <a:pt x="1358" y="138"/>
                  </a:lnTo>
                  <a:lnTo>
                    <a:pt x="1271" y="165"/>
                  </a:lnTo>
                  <a:lnTo>
                    <a:pt x="1186" y="196"/>
                  </a:lnTo>
                  <a:lnTo>
                    <a:pt x="1103" y="228"/>
                  </a:lnTo>
                  <a:lnTo>
                    <a:pt x="1024" y="262"/>
                  </a:lnTo>
                  <a:lnTo>
                    <a:pt x="945" y="299"/>
                  </a:lnTo>
                  <a:lnTo>
                    <a:pt x="869" y="338"/>
                  </a:lnTo>
                  <a:lnTo>
                    <a:pt x="797" y="378"/>
                  </a:lnTo>
                  <a:lnTo>
                    <a:pt x="727" y="421"/>
                  </a:lnTo>
                  <a:lnTo>
                    <a:pt x="658" y="466"/>
                  </a:lnTo>
                  <a:lnTo>
                    <a:pt x="593" y="511"/>
                  </a:lnTo>
                  <a:lnTo>
                    <a:pt x="530" y="560"/>
                  </a:lnTo>
                  <a:lnTo>
                    <a:pt x="470" y="609"/>
                  </a:lnTo>
                  <a:lnTo>
                    <a:pt x="412" y="661"/>
                  </a:lnTo>
                  <a:lnTo>
                    <a:pt x="358" y="714"/>
                  </a:lnTo>
                  <a:lnTo>
                    <a:pt x="306" y="767"/>
                  </a:lnTo>
                  <a:lnTo>
                    <a:pt x="257" y="824"/>
                  </a:lnTo>
                  <a:lnTo>
                    <a:pt x="211" y="881"/>
                  </a:lnTo>
                  <a:lnTo>
                    <a:pt x="168" y="939"/>
                  </a:lnTo>
                  <a:lnTo>
                    <a:pt x="128" y="999"/>
                  </a:lnTo>
                  <a:lnTo>
                    <a:pt x="91" y="1060"/>
                  </a:lnTo>
                  <a:lnTo>
                    <a:pt x="58" y="1122"/>
                  </a:lnTo>
                  <a:lnTo>
                    <a:pt x="27" y="1185"/>
                  </a:lnTo>
                  <a:lnTo>
                    <a:pt x="0" y="1249"/>
                  </a:lnTo>
                  <a:lnTo>
                    <a:pt x="67" y="1242"/>
                  </a:lnTo>
                  <a:lnTo>
                    <a:pt x="134" y="1236"/>
                  </a:lnTo>
                  <a:lnTo>
                    <a:pt x="201" y="1231"/>
                  </a:lnTo>
                  <a:lnTo>
                    <a:pt x="268" y="1225"/>
                  </a:lnTo>
                  <a:lnTo>
                    <a:pt x="335" y="1219"/>
                  </a:lnTo>
                  <a:lnTo>
                    <a:pt x="403" y="1212"/>
                  </a:lnTo>
                  <a:lnTo>
                    <a:pt x="471" y="1206"/>
                  </a:lnTo>
                  <a:lnTo>
                    <a:pt x="538" y="1201"/>
                  </a:lnTo>
                  <a:lnTo>
                    <a:pt x="605" y="1195"/>
                  </a:lnTo>
                  <a:lnTo>
                    <a:pt x="674" y="1189"/>
                  </a:lnTo>
                  <a:lnTo>
                    <a:pt x="742" y="1182"/>
                  </a:lnTo>
                  <a:lnTo>
                    <a:pt x="810" y="1177"/>
                  </a:lnTo>
                  <a:lnTo>
                    <a:pt x="879" y="1171"/>
                  </a:lnTo>
                  <a:lnTo>
                    <a:pt x="946" y="1166"/>
                  </a:lnTo>
                  <a:lnTo>
                    <a:pt x="1015" y="1160"/>
                  </a:lnTo>
                  <a:lnTo>
                    <a:pt x="1084" y="1155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764E64D-E536-4F9B-AF59-C7ECC105E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9322" y="5877328"/>
              <a:ext cx="212120" cy="190061"/>
            </a:xfrm>
            <a:custGeom>
              <a:avLst/>
              <a:gdLst>
                <a:gd name="T0" fmla="*/ 2646 w 2867"/>
                <a:gd name="T1" fmla="*/ 2542 h 2571"/>
                <a:gd name="T2" fmla="*/ 2867 w 2867"/>
                <a:gd name="T3" fmla="*/ 1557 h 2571"/>
                <a:gd name="T4" fmla="*/ 1877 w 2867"/>
                <a:gd name="T5" fmla="*/ 1557 h 2571"/>
                <a:gd name="T6" fmla="*/ 1920 w 2867"/>
                <a:gd name="T7" fmla="*/ 1361 h 2571"/>
                <a:gd name="T8" fmla="*/ 1960 w 2867"/>
                <a:gd name="T9" fmla="*/ 1182 h 2571"/>
                <a:gd name="T10" fmla="*/ 1996 w 2867"/>
                <a:gd name="T11" fmla="*/ 1019 h 2571"/>
                <a:gd name="T12" fmla="*/ 2029 w 2867"/>
                <a:gd name="T13" fmla="*/ 872 h 2571"/>
                <a:gd name="T14" fmla="*/ 2060 w 2867"/>
                <a:gd name="T15" fmla="*/ 739 h 2571"/>
                <a:gd name="T16" fmla="*/ 2087 w 2867"/>
                <a:gd name="T17" fmla="*/ 621 h 2571"/>
                <a:gd name="T18" fmla="*/ 2111 w 2867"/>
                <a:gd name="T19" fmla="*/ 514 h 2571"/>
                <a:gd name="T20" fmla="*/ 2133 w 2867"/>
                <a:gd name="T21" fmla="*/ 420 h 2571"/>
                <a:gd name="T22" fmla="*/ 2152 w 2867"/>
                <a:gd name="T23" fmla="*/ 338 h 2571"/>
                <a:gd name="T24" fmla="*/ 2169 w 2867"/>
                <a:gd name="T25" fmla="*/ 264 h 2571"/>
                <a:gd name="T26" fmla="*/ 2183 w 2867"/>
                <a:gd name="T27" fmla="*/ 201 h 2571"/>
                <a:gd name="T28" fmla="*/ 2196 w 2867"/>
                <a:gd name="T29" fmla="*/ 148 h 2571"/>
                <a:gd name="T30" fmla="*/ 2206 w 2867"/>
                <a:gd name="T31" fmla="*/ 101 h 2571"/>
                <a:gd name="T32" fmla="*/ 2215 w 2867"/>
                <a:gd name="T33" fmla="*/ 62 h 2571"/>
                <a:gd name="T34" fmla="*/ 2222 w 2867"/>
                <a:gd name="T35" fmla="*/ 28 h 2571"/>
                <a:gd name="T36" fmla="*/ 2228 w 2867"/>
                <a:gd name="T37" fmla="*/ 0 h 2571"/>
                <a:gd name="T38" fmla="*/ 512 w 2867"/>
                <a:gd name="T39" fmla="*/ 331 h 2571"/>
                <a:gd name="T40" fmla="*/ 509 w 2867"/>
                <a:gd name="T41" fmla="*/ 343 h 2571"/>
                <a:gd name="T42" fmla="*/ 501 w 2867"/>
                <a:gd name="T43" fmla="*/ 375 h 2571"/>
                <a:gd name="T44" fmla="*/ 490 w 2867"/>
                <a:gd name="T45" fmla="*/ 428 h 2571"/>
                <a:gd name="T46" fmla="*/ 473 w 2867"/>
                <a:gd name="T47" fmla="*/ 501 h 2571"/>
                <a:gd name="T48" fmla="*/ 453 w 2867"/>
                <a:gd name="T49" fmla="*/ 592 h 2571"/>
                <a:gd name="T50" fmla="*/ 428 w 2867"/>
                <a:gd name="T51" fmla="*/ 700 h 2571"/>
                <a:gd name="T52" fmla="*/ 399 w 2867"/>
                <a:gd name="T53" fmla="*/ 826 h 2571"/>
                <a:gd name="T54" fmla="*/ 367 w 2867"/>
                <a:gd name="T55" fmla="*/ 968 h 2571"/>
                <a:gd name="T56" fmla="*/ 331 w 2867"/>
                <a:gd name="T57" fmla="*/ 1125 h 2571"/>
                <a:gd name="T58" fmla="*/ 291 w 2867"/>
                <a:gd name="T59" fmla="*/ 1296 h 2571"/>
                <a:gd name="T60" fmla="*/ 250 w 2867"/>
                <a:gd name="T61" fmla="*/ 1481 h 2571"/>
                <a:gd name="T62" fmla="*/ 204 w 2867"/>
                <a:gd name="T63" fmla="*/ 1677 h 2571"/>
                <a:gd name="T64" fmla="*/ 157 w 2867"/>
                <a:gd name="T65" fmla="*/ 1886 h 2571"/>
                <a:gd name="T66" fmla="*/ 107 w 2867"/>
                <a:gd name="T67" fmla="*/ 2105 h 2571"/>
                <a:gd name="T68" fmla="*/ 54 w 2867"/>
                <a:gd name="T69" fmla="*/ 2334 h 2571"/>
                <a:gd name="T70" fmla="*/ 0 w 2867"/>
                <a:gd name="T71" fmla="*/ 2571 h 2571"/>
                <a:gd name="T72" fmla="*/ 164 w 2867"/>
                <a:gd name="T73" fmla="*/ 2569 h 2571"/>
                <a:gd name="T74" fmla="*/ 328 w 2867"/>
                <a:gd name="T75" fmla="*/ 2566 h 2571"/>
                <a:gd name="T76" fmla="*/ 493 w 2867"/>
                <a:gd name="T77" fmla="*/ 2564 h 2571"/>
                <a:gd name="T78" fmla="*/ 660 w 2867"/>
                <a:gd name="T79" fmla="*/ 2562 h 2571"/>
                <a:gd name="T80" fmla="*/ 826 w 2867"/>
                <a:gd name="T81" fmla="*/ 2560 h 2571"/>
                <a:gd name="T82" fmla="*/ 993 w 2867"/>
                <a:gd name="T83" fmla="*/ 2558 h 2571"/>
                <a:gd name="T84" fmla="*/ 1161 w 2867"/>
                <a:gd name="T85" fmla="*/ 2556 h 2571"/>
                <a:gd name="T86" fmla="*/ 1327 w 2867"/>
                <a:gd name="T87" fmla="*/ 2555 h 2571"/>
                <a:gd name="T88" fmla="*/ 1495 w 2867"/>
                <a:gd name="T89" fmla="*/ 2553 h 2571"/>
                <a:gd name="T90" fmla="*/ 1662 w 2867"/>
                <a:gd name="T91" fmla="*/ 2551 h 2571"/>
                <a:gd name="T92" fmla="*/ 1828 w 2867"/>
                <a:gd name="T93" fmla="*/ 2550 h 2571"/>
                <a:gd name="T94" fmla="*/ 1994 w 2867"/>
                <a:gd name="T95" fmla="*/ 2548 h 2571"/>
                <a:gd name="T96" fmla="*/ 2158 w 2867"/>
                <a:gd name="T97" fmla="*/ 2547 h 2571"/>
                <a:gd name="T98" fmla="*/ 2322 w 2867"/>
                <a:gd name="T99" fmla="*/ 2545 h 2571"/>
                <a:gd name="T100" fmla="*/ 2484 w 2867"/>
                <a:gd name="T101" fmla="*/ 2544 h 2571"/>
                <a:gd name="T102" fmla="*/ 2646 w 2867"/>
                <a:gd name="T103" fmla="*/ 2542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7" h="2571">
                  <a:moveTo>
                    <a:pt x="2646" y="2542"/>
                  </a:moveTo>
                  <a:lnTo>
                    <a:pt x="2867" y="1557"/>
                  </a:lnTo>
                  <a:lnTo>
                    <a:pt x="1877" y="1557"/>
                  </a:lnTo>
                  <a:lnTo>
                    <a:pt x="1920" y="1361"/>
                  </a:lnTo>
                  <a:lnTo>
                    <a:pt x="1960" y="1182"/>
                  </a:lnTo>
                  <a:lnTo>
                    <a:pt x="1996" y="1019"/>
                  </a:lnTo>
                  <a:lnTo>
                    <a:pt x="2029" y="872"/>
                  </a:lnTo>
                  <a:lnTo>
                    <a:pt x="2060" y="739"/>
                  </a:lnTo>
                  <a:lnTo>
                    <a:pt x="2087" y="621"/>
                  </a:lnTo>
                  <a:lnTo>
                    <a:pt x="2111" y="514"/>
                  </a:lnTo>
                  <a:lnTo>
                    <a:pt x="2133" y="420"/>
                  </a:lnTo>
                  <a:lnTo>
                    <a:pt x="2152" y="338"/>
                  </a:lnTo>
                  <a:lnTo>
                    <a:pt x="2169" y="264"/>
                  </a:lnTo>
                  <a:lnTo>
                    <a:pt x="2183" y="201"/>
                  </a:lnTo>
                  <a:lnTo>
                    <a:pt x="2196" y="148"/>
                  </a:lnTo>
                  <a:lnTo>
                    <a:pt x="2206" y="101"/>
                  </a:lnTo>
                  <a:lnTo>
                    <a:pt x="2215" y="62"/>
                  </a:lnTo>
                  <a:lnTo>
                    <a:pt x="2222" y="28"/>
                  </a:lnTo>
                  <a:lnTo>
                    <a:pt x="2228" y="0"/>
                  </a:lnTo>
                  <a:lnTo>
                    <a:pt x="512" y="331"/>
                  </a:lnTo>
                  <a:lnTo>
                    <a:pt x="509" y="343"/>
                  </a:lnTo>
                  <a:lnTo>
                    <a:pt x="501" y="375"/>
                  </a:lnTo>
                  <a:lnTo>
                    <a:pt x="490" y="428"/>
                  </a:lnTo>
                  <a:lnTo>
                    <a:pt x="473" y="501"/>
                  </a:lnTo>
                  <a:lnTo>
                    <a:pt x="453" y="592"/>
                  </a:lnTo>
                  <a:lnTo>
                    <a:pt x="428" y="700"/>
                  </a:lnTo>
                  <a:lnTo>
                    <a:pt x="399" y="826"/>
                  </a:lnTo>
                  <a:lnTo>
                    <a:pt x="367" y="968"/>
                  </a:lnTo>
                  <a:lnTo>
                    <a:pt x="331" y="1125"/>
                  </a:lnTo>
                  <a:lnTo>
                    <a:pt x="291" y="1296"/>
                  </a:lnTo>
                  <a:lnTo>
                    <a:pt x="250" y="1481"/>
                  </a:lnTo>
                  <a:lnTo>
                    <a:pt x="204" y="1677"/>
                  </a:lnTo>
                  <a:lnTo>
                    <a:pt x="157" y="1886"/>
                  </a:lnTo>
                  <a:lnTo>
                    <a:pt x="107" y="2105"/>
                  </a:lnTo>
                  <a:lnTo>
                    <a:pt x="54" y="2334"/>
                  </a:lnTo>
                  <a:lnTo>
                    <a:pt x="0" y="2571"/>
                  </a:lnTo>
                  <a:lnTo>
                    <a:pt x="164" y="2569"/>
                  </a:lnTo>
                  <a:lnTo>
                    <a:pt x="328" y="2566"/>
                  </a:lnTo>
                  <a:lnTo>
                    <a:pt x="493" y="2564"/>
                  </a:lnTo>
                  <a:lnTo>
                    <a:pt x="660" y="2562"/>
                  </a:lnTo>
                  <a:lnTo>
                    <a:pt x="826" y="2560"/>
                  </a:lnTo>
                  <a:lnTo>
                    <a:pt x="993" y="2558"/>
                  </a:lnTo>
                  <a:lnTo>
                    <a:pt x="1161" y="2556"/>
                  </a:lnTo>
                  <a:lnTo>
                    <a:pt x="1327" y="2555"/>
                  </a:lnTo>
                  <a:lnTo>
                    <a:pt x="1495" y="2553"/>
                  </a:lnTo>
                  <a:lnTo>
                    <a:pt x="1662" y="2551"/>
                  </a:lnTo>
                  <a:lnTo>
                    <a:pt x="1828" y="2550"/>
                  </a:lnTo>
                  <a:lnTo>
                    <a:pt x="1994" y="2548"/>
                  </a:lnTo>
                  <a:lnTo>
                    <a:pt x="2158" y="2547"/>
                  </a:lnTo>
                  <a:lnTo>
                    <a:pt x="2322" y="2545"/>
                  </a:lnTo>
                  <a:lnTo>
                    <a:pt x="2484" y="2544"/>
                  </a:lnTo>
                  <a:lnTo>
                    <a:pt x="2646" y="2542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7FB429C-5280-4DCB-B6EB-BBA79BDFB2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265" y="6159025"/>
              <a:ext cx="167999" cy="217212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1C71175-872A-4DAB-B7CB-87114BEC6A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49564" y="5991025"/>
              <a:ext cx="375028" cy="390303"/>
            </a:xfrm>
            <a:custGeom>
              <a:avLst/>
              <a:gdLst>
                <a:gd name="T0" fmla="*/ 4466 w 5066"/>
                <a:gd name="T1" fmla="*/ 34 h 5294"/>
                <a:gd name="T2" fmla="*/ 3678 w 5066"/>
                <a:gd name="T3" fmla="*/ 3 h 5294"/>
                <a:gd name="T4" fmla="*/ 2963 w 5066"/>
                <a:gd name="T5" fmla="*/ 8 h 5294"/>
                <a:gd name="T6" fmla="*/ 2456 w 5066"/>
                <a:gd name="T7" fmla="*/ 64 h 5294"/>
                <a:gd name="T8" fmla="*/ 1996 w 5066"/>
                <a:gd name="T9" fmla="*/ 183 h 5294"/>
                <a:gd name="T10" fmla="*/ 1582 w 5066"/>
                <a:gd name="T11" fmla="*/ 368 h 5294"/>
                <a:gd name="T12" fmla="*/ 1216 w 5066"/>
                <a:gd name="T13" fmla="*/ 622 h 5294"/>
                <a:gd name="T14" fmla="*/ 895 w 5066"/>
                <a:gd name="T15" fmla="*/ 947 h 5294"/>
                <a:gd name="T16" fmla="*/ 2051 w 5066"/>
                <a:gd name="T17" fmla="*/ 1001 h 5294"/>
                <a:gd name="T18" fmla="*/ 3037 w 5066"/>
                <a:gd name="T19" fmla="*/ 998 h 5294"/>
                <a:gd name="T20" fmla="*/ 3293 w 5066"/>
                <a:gd name="T21" fmla="*/ 1144 h 5294"/>
                <a:gd name="T22" fmla="*/ 3058 w 5066"/>
                <a:gd name="T23" fmla="*/ 2155 h 5294"/>
                <a:gd name="T24" fmla="*/ 2848 w 5066"/>
                <a:gd name="T25" fmla="*/ 3110 h 5294"/>
                <a:gd name="T26" fmla="*/ 2785 w 5066"/>
                <a:gd name="T27" fmla="*/ 3421 h 5294"/>
                <a:gd name="T28" fmla="*/ 2624 w 5066"/>
                <a:gd name="T29" fmla="*/ 3638 h 5294"/>
                <a:gd name="T30" fmla="*/ 2496 w 5066"/>
                <a:gd name="T31" fmla="*/ 3760 h 5294"/>
                <a:gd name="T32" fmla="*/ 2340 w 5066"/>
                <a:gd name="T33" fmla="*/ 3861 h 5294"/>
                <a:gd name="T34" fmla="*/ 2151 w 5066"/>
                <a:gd name="T35" fmla="*/ 3924 h 5294"/>
                <a:gd name="T36" fmla="*/ 1941 w 5066"/>
                <a:gd name="T37" fmla="*/ 3933 h 5294"/>
                <a:gd name="T38" fmla="*/ 1787 w 5066"/>
                <a:gd name="T39" fmla="*/ 3881 h 5294"/>
                <a:gd name="T40" fmla="*/ 1688 w 5066"/>
                <a:gd name="T41" fmla="*/ 3781 h 5294"/>
                <a:gd name="T42" fmla="*/ 1631 w 5066"/>
                <a:gd name="T43" fmla="*/ 3646 h 5294"/>
                <a:gd name="T44" fmla="*/ 1606 w 5066"/>
                <a:gd name="T45" fmla="*/ 3488 h 5294"/>
                <a:gd name="T46" fmla="*/ 1611 w 5066"/>
                <a:gd name="T47" fmla="*/ 3188 h 5294"/>
                <a:gd name="T48" fmla="*/ 1659 w 5066"/>
                <a:gd name="T49" fmla="*/ 2763 h 5294"/>
                <a:gd name="T50" fmla="*/ 1748 w 5066"/>
                <a:gd name="T51" fmla="*/ 2329 h 5294"/>
                <a:gd name="T52" fmla="*/ 1879 w 5066"/>
                <a:gd name="T53" fmla="*/ 1919 h 5294"/>
                <a:gd name="T54" fmla="*/ 2053 w 5066"/>
                <a:gd name="T55" fmla="*/ 1564 h 5294"/>
                <a:gd name="T56" fmla="*/ 2272 w 5066"/>
                <a:gd name="T57" fmla="*/ 1295 h 5294"/>
                <a:gd name="T58" fmla="*/ 1725 w 5066"/>
                <a:gd name="T59" fmla="*/ 1309 h 5294"/>
                <a:gd name="T60" fmla="*/ 1087 w 5066"/>
                <a:gd name="T61" fmla="*/ 1326 h 5294"/>
                <a:gd name="T62" fmla="*/ 556 w 5066"/>
                <a:gd name="T63" fmla="*/ 1456 h 5294"/>
                <a:gd name="T64" fmla="*/ 378 w 5066"/>
                <a:gd name="T65" fmla="*/ 1828 h 5294"/>
                <a:gd name="T66" fmla="*/ 230 w 5066"/>
                <a:gd name="T67" fmla="*/ 2231 h 5294"/>
                <a:gd name="T68" fmla="*/ 117 w 5066"/>
                <a:gd name="T69" fmla="*/ 2662 h 5294"/>
                <a:gd name="T70" fmla="*/ 39 w 5066"/>
                <a:gd name="T71" fmla="*/ 3114 h 5294"/>
                <a:gd name="T72" fmla="*/ 1 w 5066"/>
                <a:gd name="T73" fmla="*/ 3582 h 5294"/>
                <a:gd name="T74" fmla="*/ 25 w 5066"/>
                <a:gd name="T75" fmla="*/ 4022 h 5294"/>
                <a:gd name="T76" fmla="*/ 135 w 5066"/>
                <a:gd name="T77" fmla="*/ 4458 h 5294"/>
                <a:gd name="T78" fmla="*/ 338 w 5066"/>
                <a:gd name="T79" fmla="*/ 4843 h 5294"/>
                <a:gd name="T80" fmla="*/ 640 w 5066"/>
                <a:gd name="T81" fmla="*/ 5133 h 5294"/>
                <a:gd name="T82" fmla="*/ 1051 w 5066"/>
                <a:gd name="T83" fmla="*/ 5283 h 5294"/>
                <a:gd name="T84" fmla="*/ 1436 w 5066"/>
                <a:gd name="T85" fmla="*/ 5280 h 5294"/>
                <a:gd name="T86" fmla="*/ 1750 w 5066"/>
                <a:gd name="T87" fmla="*/ 5205 h 5294"/>
                <a:gd name="T88" fmla="*/ 2040 w 5066"/>
                <a:gd name="T89" fmla="*/ 5075 h 5294"/>
                <a:gd name="T90" fmla="*/ 2302 w 5066"/>
                <a:gd name="T91" fmla="*/ 4898 h 5294"/>
                <a:gd name="T92" fmla="*/ 2538 w 5066"/>
                <a:gd name="T93" fmla="*/ 4679 h 5294"/>
                <a:gd name="T94" fmla="*/ 2681 w 5066"/>
                <a:gd name="T95" fmla="*/ 4637 h 5294"/>
                <a:gd name="T96" fmla="*/ 2700 w 5066"/>
                <a:gd name="T97" fmla="*/ 5021 h 5294"/>
                <a:gd name="T98" fmla="*/ 2721 w 5066"/>
                <a:gd name="T99" fmla="*/ 5272 h 5294"/>
                <a:gd name="T100" fmla="*/ 4090 w 5066"/>
                <a:gd name="T101" fmla="*/ 4975 h 5294"/>
                <a:gd name="T102" fmla="*/ 4105 w 5066"/>
                <a:gd name="T103" fmla="*/ 4576 h 5294"/>
                <a:gd name="T104" fmla="*/ 4161 w 5066"/>
                <a:gd name="T105" fmla="*/ 4121 h 5294"/>
                <a:gd name="T106" fmla="*/ 4502 w 5066"/>
                <a:gd name="T107" fmla="*/ 2560 h 5294"/>
                <a:gd name="T108" fmla="*/ 4914 w 5066"/>
                <a:gd name="T109" fmla="*/ 744 h 5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66" h="5294">
                  <a:moveTo>
                    <a:pt x="5066" y="81"/>
                  </a:moveTo>
                  <a:lnTo>
                    <a:pt x="4954" y="71"/>
                  </a:lnTo>
                  <a:lnTo>
                    <a:pt x="4837" y="61"/>
                  </a:lnTo>
                  <a:lnTo>
                    <a:pt x="4717" y="52"/>
                  </a:lnTo>
                  <a:lnTo>
                    <a:pt x="4593" y="43"/>
                  </a:lnTo>
                  <a:lnTo>
                    <a:pt x="4466" y="34"/>
                  </a:lnTo>
                  <a:lnTo>
                    <a:pt x="4337" y="27"/>
                  </a:lnTo>
                  <a:lnTo>
                    <a:pt x="4206" y="21"/>
                  </a:lnTo>
                  <a:lnTo>
                    <a:pt x="4074" y="15"/>
                  </a:lnTo>
                  <a:lnTo>
                    <a:pt x="3942" y="10"/>
                  </a:lnTo>
                  <a:lnTo>
                    <a:pt x="3809" y="5"/>
                  </a:lnTo>
                  <a:lnTo>
                    <a:pt x="3678" y="3"/>
                  </a:lnTo>
                  <a:lnTo>
                    <a:pt x="3548" y="1"/>
                  </a:lnTo>
                  <a:lnTo>
                    <a:pt x="3419" y="0"/>
                  </a:lnTo>
                  <a:lnTo>
                    <a:pt x="3294" y="0"/>
                  </a:lnTo>
                  <a:lnTo>
                    <a:pt x="3171" y="1"/>
                  </a:lnTo>
                  <a:lnTo>
                    <a:pt x="3052" y="4"/>
                  </a:lnTo>
                  <a:lnTo>
                    <a:pt x="2963" y="8"/>
                  </a:lnTo>
                  <a:lnTo>
                    <a:pt x="2876" y="13"/>
                  </a:lnTo>
                  <a:lnTo>
                    <a:pt x="2789" y="20"/>
                  </a:lnTo>
                  <a:lnTo>
                    <a:pt x="2704" y="28"/>
                  </a:lnTo>
                  <a:lnTo>
                    <a:pt x="2620" y="39"/>
                  </a:lnTo>
                  <a:lnTo>
                    <a:pt x="2537" y="51"/>
                  </a:lnTo>
                  <a:lnTo>
                    <a:pt x="2456" y="64"/>
                  </a:lnTo>
                  <a:lnTo>
                    <a:pt x="2376" y="80"/>
                  </a:lnTo>
                  <a:lnTo>
                    <a:pt x="2297" y="96"/>
                  </a:lnTo>
                  <a:lnTo>
                    <a:pt x="2220" y="116"/>
                  </a:lnTo>
                  <a:lnTo>
                    <a:pt x="2144" y="137"/>
                  </a:lnTo>
                  <a:lnTo>
                    <a:pt x="2070" y="159"/>
                  </a:lnTo>
                  <a:lnTo>
                    <a:pt x="1996" y="183"/>
                  </a:lnTo>
                  <a:lnTo>
                    <a:pt x="1924" y="209"/>
                  </a:lnTo>
                  <a:lnTo>
                    <a:pt x="1853" y="238"/>
                  </a:lnTo>
                  <a:lnTo>
                    <a:pt x="1783" y="267"/>
                  </a:lnTo>
                  <a:lnTo>
                    <a:pt x="1715" y="299"/>
                  </a:lnTo>
                  <a:lnTo>
                    <a:pt x="1648" y="333"/>
                  </a:lnTo>
                  <a:lnTo>
                    <a:pt x="1582" y="368"/>
                  </a:lnTo>
                  <a:lnTo>
                    <a:pt x="1518" y="405"/>
                  </a:lnTo>
                  <a:lnTo>
                    <a:pt x="1455" y="444"/>
                  </a:lnTo>
                  <a:lnTo>
                    <a:pt x="1393" y="486"/>
                  </a:lnTo>
                  <a:lnTo>
                    <a:pt x="1333" y="529"/>
                  </a:lnTo>
                  <a:lnTo>
                    <a:pt x="1274" y="575"/>
                  </a:lnTo>
                  <a:lnTo>
                    <a:pt x="1216" y="622"/>
                  </a:lnTo>
                  <a:lnTo>
                    <a:pt x="1159" y="671"/>
                  </a:lnTo>
                  <a:lnTo>
                    <a:pt x="1103" y="722"/>
                  </a:lnTo>
                  <a:lnTo>
                    <a:pt x="1049" y="775"/>
                  </a:lnTo>
                  <a:lnTo>
                    <a:pt x="996" y="831"/>
                  </a:lnTo>
                  <a:lnTo>
                    <a:pt x="945" y="887"/>
                  </a:lnTo>
                  <a:lnTo>
                    <a:pt x="895" y="947"/>
                  </a:lnTo>
                  <a:lnTo>
                    <a:pt x="845" y="1008"/>
                  </a:lnTo>
                  <a:lnTo>
                    <a:pt x="1107" y="1006"/>
                  </a:lnTo>
                  <a:lnTo>
                    <a:pt x="1360" y="1005"/>
                  </a:lnTo>
                  <a:lnTo>
                    <a:pt x="1602" y="1004"/>
                  </a:lnTo>
                  <a:lnTo>
                    <a:pt x="1833" y="1003"/>
                  </a:lnTo>
                  <a:lnTo>
                    <a:pt x="2051" y="1001"/>
                  </a:lnTo>
                  <a:lnTo>
                    <a:pt x="2255" y="1001"/>
                  </a:lnTo>
                  <a:lnTo>
                    <a:pt x="2445" y="1000"/>
                  </a:lnTo>
                  <a:lnTo>
                    <a:pt x="2619" y="999"/>
                  </a:lnTo>
                  <a:lnTo>
                    <a:pt x="2776" y="999"/>
                  </a:lnTo>
                  <a:lnTo>
                    <a:pt x="2916" y="998"/>
                  </a:lnTo>
                  <a:lnTo>
                    <a:pt x="3037" y="998"/>
                  </a:lnTo>
                  <a:lnTo>
                    <a:pt x="3139" y="997"/>
                  </a:lnTo>
                  <a:lnTo>
                    <a:pt x="3219" y="997"/>
                  </a:lnTo>
                  <a:lnTo>
                    <a:pt x="3278" y="997"/>
                  </a:lnTo>
                  <a:lnTo>
                    <a:pt x="3315" y="997"/>
                  </a:lnTo>
                  <a:lnTo>
                    <a:pt x="3327" y="997"/>
                  </a:lnTo>
                  <a:lnTo>
                    <a:pt x="3293" y="1144"/>
                  </a:lnTo>
                  <a:lnTo>
                    <a:pt x="3294" y="1144"/>
                  </a:lnTo>
                  <a:lnTo>
                    <a:pt x="3295" y="1145"/>
                  </a:lnTo>
                  <a:lnTo>
                    <a:pt x="3229" y="1425"/>
                  </a:lnTo>
                  <a:lnTo>
                    <a:pt x="3167" y="1688"/>
                  </a:lnTo>
                  <a:lnTo>
                    <a:pt x="3110" y="1930"/>
                  </a:lnTo>
                  <a:lnTo>
                    <a:pt x="3058" y="2155"/>
                  </a:lnTo>
                  <a:lnTo>
                    <a:pt x="3011" y="2360"/>
                  </a:lnTo>
                  <a:lnTo>
                    <a:pt x="2970" y="2546"/>
                  </a:lnTo>
                  <a:lnTo>
                    <a:pt x="2933" y="2714"/>
                  </a:lnTo>
                  <a:lnTo>
                    <a:pt x="2900" y="2864"/>
                  </a:lnTo>
                  <a:lnTo>
                    <a:pt x="2872" y="2996"/>
                  </a:lnTo>
                  <a:lnTo>
                    <a:pt x="2848" y="3110"/>
                  </a:lnTo>
                  <a:lnTo>
                    <a:pt x="2827" y="3205"/>
                  </a:lnTo>
                  <a:lnTo>
                    <a:pt x="2812" y="3283"/>
                  </a:lnTo>
                  <a:lnTo>
                    <a:pt x="2799" y="3343"/>
                  </a:lnTo>
                  <a:lnTo>
                    <a:pt x="2791" y="3387"/>
                  </a:lnTo>
                  <a:lnTo>
                    <a:pt x="2786" y="3412"/>
                  </a:lnTo>
                  <a:lnTo>
                    <a:pt x="2785" y="3421"/>
                  </a:lnTo>
                  <a:lnTo>
                    <a:pt x="2757" y="3462"/>
                  </a:lnTo>
                  <a:lnTo>
                    <a:pt x="2727" y="3505"/>
                  </a:lnTo>
                  <a:lnTo>
                    <a:pt x="2696" y="3550"/>
                  </a:lnTo>
                  <a:lnTo>
                    <a:pt x="2661" y="3594"/>
                  </a:lnTo>
                  <a:lnTo>
                    <a:pt x="2643" y="3616"/>
                  </a:lnTo>
                  <a:lnTo>
                    <a:pt x="2624" y="3638"/>
                  </a:lnTo>
                  <a:lnTo>
                    <a:pt x="2605" y="3659"/>
                  </a:lnTo>
                  <a:lnTo>
                    <a:pt x="2584" y="3680"/>
                  </a:lnTo>
                  <a:lnTo>
                    <a:pt x="2563" y="3701"/>
                  </a:lnTo>
                  <a:lnTo>
                    <a:pt x="2542" y="3721"/>
                  </a:lnTo>
                  <a:lnTo>
                    <a:pt x="2520" y="3742"/>
                  </a:lnTo>
                  <a:lnTo>
                    <a:pt x="2496" y="3760"/>
                  </a:lnTo>
                  <a:lnTo>
                    <a:pt x="2472" y="3779"/>
                  </a:lnTo>
                  <a:lnTo>
                    <a:pt x="2447" y="3798"/>
                  </a:lnTo>
                  <a:lnTo>
                    <a:pt x="2421" y="3815"/>
                  </a:lnTo>
                  <a:lnTo>
                    <a:pt x="2396" y="3831"/>
                  </a:lnTo>
                  <a:lnTo>
                    <a:pt x="2369" y="3846"/>
                  </a:lnTo>
                  <a:lnTo>
                    <a:pt x="2340" y="3861"/>
                  </a:lnTo>
                  <a:lnTo>
                    <a:pt x="2311" y="3874"/>
                  </a:lnTo>
                  <a:lnTo>
                    <a:pt x="2281" y="3886"/>
                  </a:lnTo>
                  <a:lnTo>
                    <a:pt x="2251" y="3898"/>
                  </a:lnTo>
                  <a:lnTo>
                    <a:pt x="2219" y="3908"/>
                  </a:lnTo>
                  <a:lnTo>
                    <a:pt x="2185" y="3916"/>
                  </a:lnTo>
                  <a:lnTo>
                    <a:pt x="2151" y="3924"/>
                  </a:lnTo>
                  <a:lnTo>
                    <a:pt x="2117" y="3929"/>
                  </a:lnTo>
                  <a:lnTo>
                    <a:pt x="2081" y="3933"/>
                  </a:lnTo>
                  <a:lnTo>
                    <a:pt x="2045" y="3936"/>
                  </a:lnTo>
                  <a:lnTo>
                    <a:pt x="2006" y="3936"/>
                  </a:lnTo>
                  <a:lnTo>
                    <a:pt x="1973" y="3936"/>
                  </a:lnTo>
                  <a:lnTo>
                    <a:pt x="1941" y="3933"/>
                  </a:lnTo>
                  <a:lnTo>
                    <a:pt x="1911" y="3929"/>
                  </a:lnTo>
                  <a:lnTo>
                    <a:pt x="1883" y="3923"/>
                  </a:lnTo>
                  <a:lnTo>
                    <a:pt x="1857" y="3914"/>
                  </a:lnTo>
                  <a:lnTo>
                    <a:pt x="1833" y="3905"/>
                  </a:lnTo>
                  <a:lnTo>
                    <a:pt x="1809" y="3894"/>
                  </a:lnTo>
                  <a:lnTo>
                    <a:pt x="1787" y="3881"/>
                  </a:lnTo>
                  <a:lnTo>
                    <a:pt x="1767" y="3868"/>
                  </a:lnTo>
                  <a:lnTo>
                    <a:pt x="1749" y="3853"/>
                  </a:lnTo>
                  <a:lnTo>
                    <a:pt x="1731" y="3837"/>
                  </a:lnTo>
                  <a:lnTo>
                    <a:pt x="1716" y="3819"/>
                  </a:lnTo>
                  <a:lnTo>
                    <a:pt x="1701" y="3801"/>
                  </a:lnTo>
                  <a:lnTo>
                    <a:pt x="1688" y="3781"/>
                  </a:lnTo>
                  <a:lnTo>
                    <a:pt x="1675" y="3760"/>
                  </a:lnTo>
                  <a:lnTo>
                    <a:pt x="1664" y="3740"/>
                  </a:lnTo>
                  <a:lnTo>
                    <a:pt x="1653" y="3717"/>
                  </a:lnTo>
                  <a:lnTo>
                    <a:pt x="1645" y="3694"/>
                  </a:lnTo>
                  <a:lnTo>
                    <a:pt x="1637" y="3670"/>
                  </a:lnTo>
                  <a:lnTo>
                    <a:pt x="1631" y="3646"/>
                  </a:lnTo>
                  <a:lnTo>
                    <a:pt x="1625" y="3620"/>
                  </a:lnTo>
                  <a:lnTo>
                    <a:pt x="1619" y="3595"/>
                  </a:lnTo>
                  <a:lnTo>
                    <a:pt x="1615" y="3568"/>
                  </a:lnTo>
                  <a:lnTo>
                    <a:pt x="1611" y="3543"/>
                  </a:lnTo>
                  <a:lnTo>
                    <a:pt x="1608" y="3516"/>
                  </a:lnTo>
                  <a:lnTo>
                    <a:pt x="1606" y="3488"/>
                  </a:lnTo>
                  <a:lnTo>
                    <a:pt x="1605" y="3461"/>
                  </a:lnTo>
                  <a:lnTo>
                    <a:pt x="1604" y="3433"/>
                  </a:lnTo>
                  <a:lnTo>
                    <a:pt x="1603" y="3378"/>
                  </a:lnTo>
                  <a:lnTo>
                    <a:pt x="1604" y="3324"/>
                  </a:lnTo>
                  <a:lnTo>
                    <a:pt x="1607" y="3257"/>
                  </a:lnTo>
                  <a:lnTo>
                    <a:pt x="1611" y="3188"/>
                  </a:lnTo>
                  <a:lnTo>
                    <a:pt x="1616" y="3120"/>
                  </a:lnTo>
                  <a:lnTo>
                    <a:pt x="1622" y="3050"/>
                  </a:lnTo>
                  <a:lnTo>
                    <a:pt x="1630" y="2979"/>
                  </a:lnTo>
                  <a:lnTo>
                    <a:pt x="1638" y="2907"/>
                  </a:lnTo>
                  <a:lnTo>
                    <a:pt x="1647" y="2835"/>
                  </a:lnTo>
                  <a:lnTo>
                    <a:pt x="1659" y="2763"/>
                  </a:lnTo>
                  <a:lnTo>
                    <a:pt x="1670" y="2691"/>
                  </a:lnTo>
                  <a:lnTo>
                    <a:pt x="1684" y="2618"/>
                  </a:lnTo>
                  <a:lnTo>
                    <a:pt x="1698" y="2545"/>
                  </a:lnTo>
                  <a:lnTo>
                    <a:pt x="1714" y="2473"/>
                  </a:lnTo>
                  <a:lnTo>
                    <a:pt x="1730" y="2400"/>
                  </a:lnTo>
                  <a:lnTo>
                    <a:pt x="1748" y="2329"/>
                  </a:lnTo>
                  <a:lnTo>
                    <a:pt x="1766" y="2259"/>
                  </a:lnTo>
                  <a:lnTo>
                    <a:pt x="1786" y="2189"/>
                  </a:lnTo>
                  <a:lnTo>
                    <a:pt x="1808" y="2119"/>
                  </a:lnTo>
                  <a:lnTo>
                    <a:pt x="1830" y="2051"/>
                  </a:lnTo>
                  <a:lnTo>
                    <a:pt x="1854" y="1984"/>
                  </a:lnTo>
                  <a:lnTo>
                    <a:pt x="1879" y="1919"/>
                  </a:lnTo>
                  <a:lnTo>
                    <a:pt x="1905" y="1855"/>
                  </a:lnTo>
                  <a:lnTo>
                    <a:pt x="1932" y="1793"/>
                  </a:lnTo>
                  <a:lnTo>
                    <a:pt x="1961" y="1732"/>
                  </a:lnTo>
                  <a:lnTo>
                    <a:pt x="1990" y="1674"/>
                  </a:lnTo>
                  <a:lnTo>
                    <a:pt x="2021" y="1618"/>
                  </a:lnTo>
                  <a:lnTo>
                    <a:pt x="2053" y="1564"/>
                  </a:lnTo>
                  <a:lnTo>
                    <a:pt x="2086" y="1512"/>
                  </a:lnTo>
                  <a:lnTo>
                    <a:pt x="2121" y="1464"/>
                  </a:lnTo>
                  <a:lnTo>
                    <a:pt x="2158" y="1417"/>
                  </a:lnTo>
                  <a:lnTo>
                    <a:pt x="2194" y="1374"/>
                  </a:lnTo>
                  <a:lnTo>
                    <a:pt x="2232" y="1334"/>
                  </a:lnTo>
                  <a:lnTo>
                    <a:pt x="2272" y="1295"/>
                  </a:lnTo>
                  <a:lnTo>
                    <a:pt x="2188" y="1297"/>
                  </a:lnTo>
                  <a:lnTo>
                    <a:pt x="2101" y="1299"/>
                  </a:lnTo>
                  <a:lnTo>
                    <a:pt x="2011" y="1302"/>
                  </a:lnTo>
                  <a:lnTo>
                    <a:pt x="1917" y="1304"/>
                  </a:lnTo>
                  <a:lnTo>
                    <a:pt x="1822" y="1307"/>
                  </a:lnTo>
                  <a:lnTo>
                    <a:pt x="1725" y="1309"/>
                  </a:lnTo>
                  <a:lnTo>
                    <a:pt x="1625" y="1311"/>
                  </a:lnTo>
                  <a:lnTo>
                    <a:pt x="1521" y="1314"/>
                  </a:lnTo>
                  <a:lnTo>
                    <a:pt x="1416" y="1317"/>
                  </a:lnTo>
                  <a:lnTo>
                    <a:pt x="1309" y="1320"/>
                  </a:lnTo>
                  <a:lnTo>
                    <a:pt x="1199" y="1323"/>
                  </a:lnTo>
                  <a:lnTo>
                    <a:pt x="1087" y="1326"/>
                  </a:lnTo>
                  <a:lnTo>
                    <a:pt x="975" y="1330"/>
                  </a:lnTo>
                  <a:lnTo>
                    <a:pt x="859" y="1334"/>
                  </a:lnTo>
                  <a:lnTo>
                    <a:pt x="741" y="1338"/>
                  </a:lnTo>
                  <a:lnTo>
                    <a:pt x="622" y="1342"/>
                  </a:lnTo>
                  <a:lnTo>
                    <a:pt x="588" y="1399"/>
                  </a:lnTo>
                  <a:lnTo>
                    <a:pt x="556" y="1456"/>
                  </a:lnTo>
                  <a:lnTo>
                    <a:pt x="524" y="1516"/>
                  </a:lnTo>
                  <a:lnTo>
                    <a:pt x="494" y="1576"/>
                  </a:lnTo>
                  <a:lnTo>
                    <a:pt x="463" y="1638"/>
                  </a:lnTo>
                  <a:lnTo>
                    <a:pt x="434" y="1700"/>
                  </a:lnTo>
                  <a:lnTo>
                    <a:pt x="406" y="1763"/>
                  </a:lnTo>
                  <a:lnTo>
                    <a:pt x="378" y="1828"/>
                  </a:lnTo>
                  <a:lnTo>
                    <a:pt x="351" y="1893"/>
                  </a:lnTo>
                  <a:lnTo>
                    <a:pt x="326" y="1958"/>
                  </a:lnTo>
                  <a:lnTo>
                    <a:pt x="301" y="2026"/>
                  </a:lnTo>
                  <a:lnTo>
                    <a:pt x="276" y="2094"/>
                  </a:lnTo>
                  <a:lnTo>
                    <a:pt x="253" y="2162"/>
                  </a:lnTo>
                  <a:lnTo>
                    <a:pt x="230" y="2231"/>
                  </a:lnTo>
                  <a:lnTo>
                    <a:pt x="210" y="2301"/>
                  </a:lnTo>
                  <a:lnTo>
                    <a:pt x="189" y="2371"/>
                  </a:lnTo>
                  <a:lnTo>
                    <a:pt x="169" y="2444"/>
                  </a:lnTo>
                  <a:lnTo>
                    <a:pt x="151" y="2515"/>
                  </a:lnTo>
                  <a:lnTo>
                    <a:pt x="133" y="2588"/>
                  </a:lnTo>
                  <a:lnTo>
                    <a:pt x="117" y="2662"/>
                  </a:lnTo>
                  <a:lnTo>
                    <a:pt x="101" y="2736"/>
                  </a:lnTo>
                  <a:lnTo>
                    <a:pt x="86" y="2810"/>
                  </a:lnTo>
                  <a:lnTo>
                    <a:pt x="73" y="2885"/>
                  </a:lnTo>
                  <a:lnTo>
                    <a:pt x="61" y="2961"/>
                  </a:lnTo>
                  <a:lnTo>
                    <a:pt x="49" y="3037"/>
                  </a:lnTo>
                  <a:lnTo>
                    <a:pt x="39" y="3114"/>
                  </a:lnTo>
                  <a:lnTo>
                    <a:pt x="30" y="3190"/>
                  </a:lnTo>
                  <a:lnTo>
                    <a:pt x="21" y="3268"/>
                  </a:lnTo>
                  <a:lnTo>
                    <a:pt x="14" y="3345"/>
                  </a:lnTo>
                  <a:lnTo>
                    <a:pt x="9" y="3424"/>
                  </a:lnTo>
                  <a:lnTo>
                    <a:pt x="4" y="3502"/>
                  </a:lnTo>
                  <a:lnTo>
                    <a:pt x="1" y="3582"/>
                  </a:lnTo>
                  <a:lnTo>
                    <a:pt x="0" y="3653"/>
                  </a:lnTo>
                  <a:lnTo>
                    <a:pt x="0" y="3726"/>
                  </a:lnTo>
                  <a:lnTo>
                    <a:pt x="3" y="3800"/>
                  </a:lnTo>
                  <a:lnTo>
                    <a:pt x="8" y="3873"/>
                  </a:lnTo>
                  <a:lnTo>
                    <a:pt x="16" y="3947"/>
                  </a:lnTo>
                  <a:lnTo>
                    <a:pt x="25" y="4022"/>
                  </a:lnTo>
                  <a:lnTo>
                    <a:pt x="38" y="4096"/>
                  </a:lnTo>
                  <a:lnTo>
                    <a:pt x="52" y="4170"/>
                  </a:lnTo>
                  <a:lnTo>
                    <a:pt x="70" y="4244"/>
                  </a:lnTo>
                  <a:lnTo>
                    <a:pt x="89" y="4316"/>
                  </a:lnTo>
                  <a:lnTo>
                    <a:pt x="111" y="4387"/>
                  </a:lnTo>
                  <a:lnTo>
                    <a:pt x="135" y="4458"/>
                  </a:lnTo>
                  <a:lnTo>
                    <a:pt x="163" y="4527"/>
                  </a:lnTo>
                  <a:lnTo>
                    <a:pt x="192" y="4594"/>
                  </a:lnTo>
                  <a:lnTo>
                    <a:pt x="225" y="4660"/>
                  </a:lnTo>
                  <a:lnTo>
                    <a:pt x="259" y="4723"/>
                  </a:lnTo>
                  <a:lnTo>
                    <a:pt x="298" y="4784"/>
                  </a:lnTo>
                  <a:lnTo>
                    <a:pt x="338" y="4843"/>
                  </a:lnTo>
                  <a:lnTo>
                    <a:pt x="381" y="4900"/>
                  </a:lnTo>
                  <a:lnTo>
                    <a:pt x="427" y="4953"/>
                  </a:lnTo>
                  <a:lnTo>
                    <a:pt x="477" y="5003"/>
                  </a:lnTo>
                  <a:lnTo>
                    <a:pt x="528" y="5050"/>
                  </a:lnTo>
                  <a:lnTo>
                    <a:pt x="582" y="5094"/>
                  </a:lnTo>
                  <a:lnTo>
                    <a:pt x="640" y="5133"/>
                  </a:lnTo>
                  <a:lnTo>
                    <a:pt x="701" y="5169"/>
                  </a:lnTo>
                  <a:lnTo>
                    <a:pt x="764" y="5201"/>
                  </a:lnTo>
                  <a:lnTo>
                    <a:pt x="832" y="5229"/>
                  </a:lnTo>
                  <a:lnTo>
                    <a:pt x="902" y="5252"/>
                  </a:lnTo>
                  <a:lnTo>
                    <a:pt x="975" y="5270"/>
                  </a:lnTo>
                  <a:lnTo>
                    <a:pt x="1051" y="5283"/>
                  </a:lnTo>
                  <a:lnTo>
                    <a:pt x="1130" y="5291"/>
                  </a:lnTo>
                  <a:lnTo>
                    <a:pt x="1213" y="5294"/>
                  </a:lnTo>
                  <a:lnTo>
                    <a:pt x="1270" y="5293"/>
                  </a:lnTo>
                  <a:lnTo>
                    <a:pt x="1325" y="5290"/>
                  </a:lnTo>
                  <a:lnTo>
                    <a:pt x="1381" y="5286"/>
                  </a:lnTo>
                  <a:lnTo>
                    <a:pt x="1436" y="5280"/>
                  </a:lnTo>
                  <a:lnTo>
                    <a:pt x="1490" y="5271"/>
                  </a:lnTo>
                  <a:lnTo>
                    <a:pt x="1543" y="5261"/>
                  </a:lnTo>
                  <a:lnTo>
                    <a:pt x="1596" y="5250"/>
                  </a:lnTo>
                  <a:lnTo>
                    <a:pt x="1648" y="5236"/>
                  </a:lnTo>
                  <a:lnTo>
                    <a:pt x="1699" y="5222"/>
                  </a:lnTo>
                  <a:lnTo>
                    <a:pt x="1750" y="5205"/>
                  </a:lnTo>
                  <a:lnTo>
                    <a:pt x="1799" y="5188"/>
                  </a:lnTo>
                  <a:lnTo>
                    <a:pt x="1849" y="5168"/>
                  </a:lnTo>
                  <a:lnTo>
                    <a:pt x="1898" y="5147"/>
                  </a:lnTo>
                  <a:lnTo>
                    <a:pt x="1945" y="5125"/>
                  </a:lnTo>
                  <a:lnTo>
                    <a:pt x="1993" y="5101"/>
                  </a:lnTo>
                  <a:lnTo>
                    <a:pt x="2040" y="5075"/>
                  </a:lnTo>
                  <a:lnTo>
                    <a:pt x="2085" y="5049"/>
                  </a:lnTo>
                  <a:lnTo>
                    <a:pt x="2130" y="5021"/>
                  </a:lnTo>
                  <a:lnTo>
                    <a:pt x="2174" y="4993"/>
                  </a:lnTo>
                  <a:lnTo>
                    <a:pt x="2218" y="4962"/>
                  </a:lnTo>
                  <a:lnTo>
                    <a:pt x="2260" y="4931"/>
                  </a:lnTo>
                  <a:lnTo>
                    <a:pt x="2302" y="4898"/>
                  </a:lnTo>
                  <a:lnTo>
                    <a:pt x="2344" y="4863"/>
                  </a:lnTo>
                  <a:lnTo>
                    <a:pt x="2384" y="4828"/>
                  </a:lnTo>
                  <a:lnTo>
                    <a:pt x="2424" y="4793"/>
                  </a:lnTo>
                  <a:lnTo>
                    <a:pt x="2463" y="4756"/>
                  </a:lnTo>
                  <a:lnTo>
                    <a:pt x="2501" y="4718"/>
                  </a:lnTo>
                  <a:lnTo>
                    <a:pt x="2538" y="4679"/>
                  </a:lnTo>
                  <a:lnTo>
                    <a:pt x="2576" y="4638"/>
                  </a:lnTo>
                  <a:lnTo>
                    <a:pt x="2612" y="4598"/>
                  </a:lnTo>
                  <a:lnTo>
                    <a:pt x="2647" y="4556"/>
                  </a:lnTo>
                  <a:lnTo>
                    <a:pt x="2681" y="4513"/>
                  </a:lnTo>
                  <a:lnTo>
                    <a:pt x="2681" y="4574"/>
                  </a:lnTo>
                  <a:lnTo>
                    <a:pt x="2681" y="4637"/>
                  </a:lnTo>
                  <a:lnTo>
                    <a:pt x="2683" y="4702"/>
                  </a:lnTo>
                  <a:lnTo>
                    <a:pt x="2685" y="4768"/>
                  </a:lnTo>
                  <a:lnTo>
                    <a:pt x="2688" y="4833"/>
                  </a:lnTo>
                  <a:lnTo>
                    <a:pt x="2692" y="4899"/>
                  </a:lnTo>
                  <a:lnTo>
                    <a:pt x="2696" y="4962"/>
                  </a:lnTo>
                  <a:lnTo>
                    <a:pt x="2700" y="5021"/>
                  </a:lnTo>
                  <a:lnTo>
                    <a:pt x="2704" y="5077"/>
                  </a:lnTo>
                  <a:lnTo>
                    <a:pt x="2708" y="5130"/>
                  </a:lnTo>
                  <a:lnTo>
                    <a:pt x="2712" y="5175"/>
                  </a:lnTo>
                  <a:lnTo>
                    <a:pt x="2715" y="5216"/>
                  </a:lnTo>
                  <a:lnTo>
                    <a:pt x="2719" y="5248"/>
                  </a:lnTo>
                  <a:lnTo>
                    <a:pt x="2721" y="5272"/>
                  </a:lnTo>
                  <a:lnTo>
                    <a:pt x="2723" y="5288"/>
                  </a:lnTo>
                  <a:lnTo>
                    <a:pt x="2723" y="5293"/>
                  </a:lnTo>
                  <a:lnTo>
                    <a:pt x="4092" y="5128"/>
                  </a:lnTo>
                  <a:lnTo>
                    <a:pt x="4091" y="5081"/>
                  </a:lnTo>
                  <a:lnTo>
                    <a:pt x="4090" y="5031"/>
                  </a:lnTo>
                  <a:lnTo>
                    <a:pt x="4090" y="4975"/>
                  </a:lnTo>
                  <a:lnTo>
                    <a:pt x="4091" y="4916"/>
                  </a:lnTo>
                  <a:lnTo>
                    <a:pt x="4092" y="4854"/>
                  </a:lnTo>
                  <a:lnTo>
                    <a:pt x="4094" y="4788"/>
                  </a:lnTo>
                  <a:lnTo>
                    <a:pt x="4096" y="4720"/>
                  </a:lnTo>
                  <a:lnTo>
                    <a:pt x="4100" y="4649"/>
                  </a:lnTo>
                  <a:lnTo>
                    <a:pt x="4105" y="4576"/>
                  </a:lnTo>
                  <a:lnTo>
                    <a:pt x="4111" y="4502"/>
                  </a:lnTo>
                  <a:lnTo>
                    <a:pt x="4118" y="4427"/>
                  </a:lnTo>
                  <a:lnTo>
                    <a:pt x="4127" y="4350"/>
                  </a:lnTo>
                  <a:lnTo>
                    <a:pt x="4137" y="4274"/>
                  </a:lnTo>
                  <a:lnTo>
                    <a:pt x="4149" y="4197"/>
                  </a:lnTo>
                  <a:lnTo>
                    <a:pt x="4161" y="4121"/>
                  </a:lnTo>
                  <a:lnTo>
                    <a:pt x="4177" y="4044"/>
                  </a:lnTo>
                  <a:lnTo>
                    <a:pt x="4231" y="3790"/>
                  </a:lnTo>
                  <a:lnTo>
                    <a:pt x="4293" y="3509"/>
                  </a:lnTo>
                  <a:lnTo>
                    <a:pt x="4359" y="3205"/>
                  </a:lnTo>
                  <a:lnTo>
                    <a:pt x="4429" y="2888"/>
                  </a:lnTo>
                  <a:lnTo>
                    <a:pt x="4502" y="2560"/>
                  </a:lnTo>
                  <a:lnTo>
                    <a:pt x="4576" y="2230"/>
                  </a:lnTo>
                  <a:lnTo>
                    <a:pt x="4650" y="1903"/>
                  </a:lnTo>
                  <a:lnTo>
                    <a:pt x="4722" y="1585"/>
                  </a:lnTo>
                  <a:lnTo>
                    <a:pt x="4791" y="1281"/>
                  </a:lnTo>
                  <a:lnTo>
                    <a:pt x="4856" y="999"/>
                  </a:lnTo>
                  <a:lnTo>
                    <a:pt x="4914" y="744"/>
                  </a:lnTo>
                  <a:lnTo>
                    <a:pt x="4964" y="521"/>
                  </a:lnTo>
                  <a:lnTo>
                    <a:pt x="5007" y="338"/>
                  </a:lnTo>
                  <a:lnTo>
                    <a:pt x="5038" y="200"/>
                  </a:lnTo>
                  <a:lnTo>
                    <a:pt x="5059" y="112"/>
                  </a:lnTo>
                  <a:lnTo>
                    <a:pt x="5066" y="81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80B4F51-A2EA-45B1-B058-23F9920F1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65809" y="6119995"/>
              <a:ext cx="288483" cy="259636"/>
            </a:xfrm>
            <a:custGeom>
              <a:avLst/>
              <a:gdLst>
                <a:gd name="T0" fmla="*/ 2869 w 3912"/>
                <a:gd name="T1" fmla="*/ 283 h 3530"/>
                <a:gd name="T2" fmla="*/ 2669 w 3912"/>
                <a:gd name="T3" fmla="*/ 133 h 3530"/>
                <a:gd name="T4" fmla="*/ 2539 w 3912"/>
                <a:gd name="T5" fmla="*/ 24 h 3530"/>
                <a:gd name="T6" fmla="*/ 2360 w 3912"/>
                <a:gd name="T7" fmla="*/ 20 h 3530"/>
                <a:gd name="T8" fmla="*/ 2160 w 3912"/>
                <a:gd name="T9" fmla="*/ 46 h 3530"/>
                <a:gd name="T10" fmla="*/ 1964 w 3912"/>
                <a:gd name="T11" fmla="*/ 74 h 3530"/>
                <a:gd name="T12" fmla="*/ 1774 w 3912"/>
                <a:gd name="T13" fmla="*/ 102 h 3530"/>
                <a:gd name="T14" fmla="*/ 1512 w 3912"/>
                <a:gd name="T15" fmla="*/ 145 h 3530"/>
                <a:gd name="T16" fmla="*/ 1235 w 3912"/>
                <a:gd name="T17" fmla="*/ 192 h 3530"/>
                <a:gd name="T18" fmla="*/ 966 w 3912"/>
                <a:gd name="T19" fmla="*/ 240 h 3530"/>
                <a:gd name="T20" fmla="*/ 707 w 3912"/>
                <a:gd name="T21" fmla="*/ 289 h 3530"/>
                <a:gd name="T22" fmla="*/ 675 w 3912"/>
                <a:gd name="T23" fmla="*/ 421 h 3530"/>
                <a:gd name="T24" fmla="*/ 732 w 3912"/>
                <a:gd name="T25" fmla="*/ 568 h 3530"/>
                <a:gd name="T26" fmla="*/ 808 w 3912"/>
                <a:gd name="T27" fmla="*/ 702 h 3530"/>
                <a:gd name="T28" fmla="*/ 902 w 3912"/>
                <a:gd name="T29" fmla="*/ 826 h 3530"/>
                <a:gd name="T30" fmla="*/ 1013 w 3912"/>
                <a:gd name="T31" fmla="*/ 945 h 3530"/>
                <a:gd name="T32" fmla="*/ 1139 w 3912"/>
                <a:gd name="T33" fmla="*/ 1059 h 3530"/>
                <a:gd name="T34" fmla="*/ 1396 w 3912"/>
                <a:gd name="T35" fmla="*/ 1256 h 3530"/>
                <a:gd name="T36" fmla="*/ 1650 w 3912"/>
                <a:gd name="T37" fmla="*/ 1422 h 3530"/>
                <a:gd name="T38" fmla="*/ 1865 w 3912"/>
                <a:gd name="T39" fmla="*/ 1562 h 3530"/>
                <a:gd name="T40" fmla="*/ 1996 w 3912"/>
                <a:gd name="T41" fmla="*/ 1664 h 3530"/>
                <a:gd name="T42" fmla="*/ 2081 w 3912"/>
                <a:gd name="T43" fmla="*/ 1751 h 3530"/>
                <a:gd name="T44" fmla="*/ 2115 w 3912"/>
                <a:gd name="T45" fmla="*/ 1809 h 3530"/>
                <a:gd name="T46" fmla="*/ 2131 w 3912"/>
                <a:gd name="T47" fmla="*/ 1871 h 3530"/>
                <a:gd name="T48" fmla="*/ 2130 w 3912"/>
                <a:gd name="T49" fmla="*/ 1935 h 3530"/>
                <a:gd name="T50" fmla="*/ 2112 w 3912"/>
                <a:gd name="T51" fmla="*/ 2008 h 3530"/>
                <a:gd name="T52" fmla="*/ 2070 w 3912"/>
                <a:gd name="T53" fmla="*/ 2104 h 3530"/>
                <a:gd name="T54" fmla="*/ 2009 w 3912"/>
                <a:gd name="T55" fmla="*/ 2180 h 3530"/>
                <a:gd name="T56" fmla="*/ 1930 w 3912"/>
                <a:gd name="T57" fmla="*/ 2239 h 3530"/>
                <a:gd name="T58" fmla="*/ 1838 w 3912"/>
                <a:gd name="T59" fmla="*/ 2282 h 3530"/>
                <a:gd name="T60" fmla="*/ 1731 w 3912"/>
                <a:gd name="T61" fmla="*/ 2313 h 3530"/>
                <a:gd name="T62" fmla="*/ 1613 w 3912"/>
                <a:gd name="T63" fmla="*/ 2332 h 3530"/>
                <a:gd name="T64" fmla="*/ 1451 w 3912"/>
                <a:gd name="T65" fmla="*/ 2343 h 3530"/>
                <a:gd name="T66" fmla="*/ 1203 w 3912"/>
                <a:gd name="T67" fmla="*/ 2342 h 3530"/>
                <a:gd name="T68" fmla="*/ 984 w 3912"/>
                <a:gd name="T69" fmla="*/ 2330 h 3530"/>
                <a:gd name="T70" fmla="*/ 664 w 3912"/>
                <a:gd name="T71" fmla="*/ 2292 h 3530"/>
                <a:gd name="T72" fmla="*/ 411 w 3912"/>
                <a:gd name="T73" fmla="*/ 2241 h 3530"/>
                <a:gd name="T74" fmla="*/ 296 w 3912"/>
                <a:gd name="T75" fmla="*/ 2211 h 3530"/>
                <a:gd name="T76" fmla="*/ 33 w 3912"/>
                <a:gd name="T77" fmla="*/ 3415 h 3530"/>
                <a:gd name="T78" fmla="*/ 289 w 3912"/>
                <a:gd name="T79" fmla="*/ 3458 h 3530"/>
                <a:gd name="T80" fmla="*/ 626 w 3912"/>
                <a:gd name="T81" fmla="*/ 3497 h 3530"/>
                <a:gd name="T82" fmla="*/ 911 w 3912"/>
                <a:gd name="T83" fmla="*/ 3517 h 3530"/>
                <a:gd name="T84" fmla="*/ 1239 w 3912"/>
                <a:gd name="T85" fmla="*/ 3529 h 3530"/>
                <a:gd name="T86" fmla="*/ 1605 w 3912"/>
                <a:gd name="T87" fmla="*/ 3526 h 3530"/>
                <a:gd name="T88" fmla="*/ 2057 w 3912"/>
                <a:gd name="T89" fmla="*/ 3493 h 3530"/>
                <a:gd name="T90" fmla="*/ 2518 w 3912"/>
                <a:gd name="T91" fmla="*/ 3389 h 3530"/>
                <a:gd name="T92" fmla="*/ 2911 w 3912"/>
                <a:gd name="T93" fmla="*/ 3223 h 3530"/>
                <a:gd name="T94" fmla="*/ 3237 w 3912"/>
                <a:gd name="T95" fmla="*/ 3003 h 3530"/>
                <a:gd name="T96" fmla="*/ 3497 w 3912"/>
                <a:gd name="T97" fmla="*/ 2740 h 3530"/>
                <a:gd name="T98" fmla="*/ 3694 w 3912"/>
                <a:gd name="T99" fmla="*/ 2445 h 3530"/>
                <a:gd name="T100" fmla="*/ 3827 w 3912"/>
                <a:gd name="T101" fmla="*/ 2128 h 3530"/>
                <a:gd name="T102" fmla="*/ 3899 w 3912"/>
                <a:gd name="T103" fmla="*/ 1800 h 3530"/>
                <a:gd name="T104" fmla="*/ 3910 w 3912"/>
                <a:gd name="T105" fmla="*/ 1533 h 3530"/>
                <a:gd name="T106" fmla="*/ 3875 w 3912"/>
                <a:gd name="T107" fmla="*/ 1340 h 3530"/>
                <a:gd name="T108" fmla="*/ 3805 w 3912"/>
                <a:gd name="T109" fmla="*/ 1164 h 3530"/>
                <a:gd name="T110" fmla="*/ 3702 w 3912"/>
                <a:gd name="T111" fmla="*/ 1000 h 3530"/>
                <a:gd name="T112" fmla="*/ 3575 w 3912"/>
                <a:gd name="T113" fmla="*/ 848 h 3530"/>
                <a:gd name="T114" fmla="*/ 3427 w 3912"/>
                <a:gd name="T115" fmla="*/ 706 h 3530"/>
                <a:gd name="T116" fmla="*/ 3265 w 3912"/>
                <a:gd name="T117" fmla="*/ 573 h 3530"/>
                <a:gd name="T118" fmla="*/ 3009 w 3912"/>
                <a:gd name="T119" fmla="*/ 386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12" h="3530">
                  <a:moveTo>
                    <a:pt x="3009" y="386"/>
                  </a:moveTo>
                  <a:lnTo>
                    <a:pt x="2964" y="353"/>
                  </a:lnTo>
                  <a:lnTo>
                    <a:pt x="2918" y="318"/>
                  </a:lnTo>
                  <a:lnTo>
                    <a:pt x="2869" y="283"/>
                  </a:lnTo>
                  <a:lnTo>
                    <a:pt x="2819" y="247"/>
                  </a:lnTo>
                  <a:lnTo>
                    <a:pt x="2769" y="210"/>
                  </a:lnTo>
                  <a:lnTo>
                    <a:pt x="2718" y="172"/>
                  </a:lnTo>
                  <a:lnTo>
                    <a:pt x="2669" y="133"/>
                  </a:lnTo>
                  <a:lnTo>
                    <a:pt x="2623" y="93"/>
                  </a:lnTo>
                  <a:lnTo>
                    <a:pt x="2595" y="69"/>
                  </a:lnTo>
                  <a:lnTo>
                    <a:pt x="2566" y="46"/>
                  </a:lnTo>
                  <a:lnTo>
                    <a:pt x="2539" y="24"/>
                  </a:lnTo>
                  <a:lnTo>
                    <a:pt x="2512" y="0"/>
                  </a:lnTo>
                  <a:lnTo>
                    <a:pt x="2461" y="7"/>
                  </a:lnTo>
                  <a:lnTo>
                    <a:pt x="2410" y="13"/>
                  </a:lnTo>
                  <a:lnTo>
                    <a:pt x="2360" y="20"/>
                  </a:lnTo>
                  <a:lnTo>
                    <a:pt x="2309" y="27"/>
                  </a:lnTo>
                  <a:lnTo>
                    <a:pt x="2259" y="33"/>
                  </a:lnTo>
                  <a:lnTo>
                    <a:pt x="2209" y="40"/>
                  </a:lnTo>
                  <a:lnTo>
                    <a:pt x="2160" y="46"/>
                  </a:lnTo>
                  <a:lnTo>
                    <a:pt x="2110" y="54"/>
                  </a:lnTo>
                  <a:lnTo>
                    <a:pt x="2062" y="60"/>
                  </a:lnTo>
                  <a:lnTo>
                    <a:pt x="2013" y="67"/>
                  </a:lnTo>
                  <a:lnTo>
                    <a:pt x="1964" y="74"/>
                  </a:lnTo>
                  <a:lnTo>
                    <a:pt x="1916" y="82"/>
                  </a:lnTo>
                  <a:lnTo>
                    <a:pt x="1868" y="89"/>
                  </a:lnTo>
                  <a:lnTo>
                    <a:pt x="1820" y="95"/>
                  </a:lnTo>
                  <a:lnTo>
                    <a:pt x="1774" y="102"/>
                  </a:lnTo>
                  <a:lnTo>
                    <a:pt x="1727" y="109"/>
                  </a:lnTo>
                  <a:lnTo>
                    <a:pt x="1655" y="121"/>
                  </a:lnTo>
                  <a:lnTo>
                    <a:pt x="1583" y="133"/>
                  </a:lnTo>
                  <a:lnTo>
                    <a:pt x="1512" y="145"/>
                  </a:lnTo>
                  <a:lnTo>
                    <a:pt x="1442" y="156"/>
                  </a:lnTo>
                  <a:lnTo>
                    <a:pt x="1372" y="168"/>
                  </a:lnTo>
                  <a:lnTo>
                    <a:pt x="1303" y="180"/>
                  </a:lnTo>
                  <a:lnTo>
                    <a:pt x="1235" y="192"/>
                  </a:lnTo>
                  <a:lnTo>
                    <a:pt x="1166" y="203"/>
                  </a:lnTo>
                  <a:lnTo>
                    <a:pt x="1099" y="216"/>
                  </a:lnTo>
                  <a:lnTo>
                    <a:pt x="1032" y="228"/>
                  </a:lnTo>
                  <a:lnTo>
                    <a:pt x="966" y="240"/>
                  </a:lnTo>
                  <a:lnTo>
                    <a:pt x="900" y="252"/>
                  </a:lnTo>
                  <a:lnTo>
                    <a:pt x="835" y="264"/>
                  </a:lnTo>
                  <a:lnTo>
                    <a:pt x="771" y="277"/>
                  </a:lnTo>
                  <a:lnTo>
                    <a:pt x="707" y="289"/>
                  </a:lnTo>
                  <a:lnTo>
                    <a:pt x="644" y="302"/>
                  </a:lnTo>
                  <a:lnTo>
                    <a:pt x="653" y="343"/>
                  </a:lnTo>
                  <a:lnTo>
                    <a:pt x="662" y="382"/>
                  </a:lnTo>
                  <a:lnTo>
                    <a:pt x="675" y="421"/>
                  </a:lnTo>
                  <a:lnTo>
                    <a:pt x="687" y="458"/>
                  </a:lnTo>
                  <a:lnTo>
                    <a:pt x="701" y="496"/>
                  </a:lnTo>
                  <a:lnTo>
                    <a:pt x="716" y="532"/>
                  </a:lnTo>
                  <a:lnTo>
                    <a:pt x="732" y="568"/>
                  </a:lnTo>
                  <a:lnTo>
                    <a:pt x="749" y="602"/>
                  </a:lnTo>
                  <a:lnTo>
                    <a:pt x="768" y="636"/>
                  </a:lnTo>
                  <a:lnTo>
                    <a:pt x="788" y="669"/>
                  </a:lnTo>
                  <a:lnTo>
                    <a:pt x="808" y="702"/>
                  </a:lnTo>
                  <a:lnTo>
                    <a:pt x="830" y="733"/>
                  </a:lnTo>
                  <a:lnTo>
                    <a:pt x="853" y="765"/>
                  </a:lnTo>
                  <a:lnTo>
                    <a:pt x="878" y="796"/>
                  </a:lnTo>
                  <a:lnTo>
                    <a:pt x="902" y="826"/>
                  </a:lnTo>
                  <a:lnTo>
                    <a:pt x="928" y="856"/>
                  </a:lnTo>
                  <a:lnTo>
                    <a:pt x="955" y="886"/>
                  </a:lnTo>
                  <a:lnTo>
                    <a:pt x="984" y="915"/>
                  </a:lnTo>
                  <a:lnTo>
                    <a:pt x="1013" y="945"/>
                  </a:lnTo>
                  <a:lnTo>
                    <a:pt x="1043" y="973"/>
                  </a:lnTo>
                  <a:lnTo>
                    <a:pt x="1074" y="1002"/>
                  </a:lnTo>
                  <a:lnTo>
                    <a:pt x="1106" y="1030"/>
                  </a:lnTo>
                  <a:lnTo>
                    <a:pt x="1139" y="1059"/>
                  </a:lnTo>
                  <a:lnTo>
                    <a:pt x="1174" y="1086"/>
                  </a:lnTo>
                  <a:lnTo>
                    <a:pt x="1244" y="1142"/>
                  </a:lnTo>
                  <a:lnTo>
                    <a:pt x="1318" y="1199"/>
                  </a:lnTo>
                  <a:lnTo>
                    <a:pt x="1396" y="1256"/>
                  </a:lnTo>
                  <a:lnTo>
                    <a:pt x="1478" y="1314"/>
                  </a:lnTo>
                  <a:lnTo>
                    <a:pt x="1535" y="1350"/>
                  </a:lnTo>
                  <a:lnTo>
                    <a:pt x="1592" y="1386"/>
                  </a:lnTo>
                  <a:lnTo>
                    <a:pt x="1650" y="1422"/>
                  </a:lnTo>
                  <a:lnTo>
                    <a:pt x="1706" y="1458"/>
                  </a:lnTo>
                  <a:lnTo>
                    <a:pt x="1760" y="1493"/>
                  </a:lnTo>
                  <a:lnTo>
                    <a:pt x="1814" y="1528"/>
                  </a:lnTo>
                  <a:lnTo>
                    <a:pt x="1865" y="1562"/>
                  </a:lnTo>
                  <a:lnTo>
                    <a:pt x="1913" y="1597"/>
                  </a:lnTo>
                  <a:lnTo>
                    <a:pt x="1941" y="1618"/>
                  </a:lnTo>
                  <a:lnTo>
                    <a:pt x="1968" y="1641"/>
                  </a:lnTo>
                  <a:lnTo>
                    <a:pt x="1996" y="1664"/>
                  </a:lnTo>
                  <a:lnTo>
                    <a:pt x="2022" y="1688"/>
                  </a:lnTo>
                  <a:lnTo>
                    <a:pt x="2048" y="1713"/>
                  </a:lnTo>
                  <a:lnTo>
                    <a:pt x="2071" y="1739"/>
                  </a:lnTo>
                  <a:lnTo>
                    <a:pt x="2081" y="1751"/>
                  </a:lnTo>
                  <a:lnTo>
                    <a:pt x="2092" y="1765"/>
                  </a:lnTo>
                  <a:lnTo>
                    <a:pt x="2101" y="1778"/>
                  </a:lnTo>
                  <a:lnTo>
                    <a:pt x="2109" y="1793"/>
                  </a:lnTo>
                  <a:lnTo>
                    <a:pt x="2115" y="1809"/>
                  </a:lnTo>
                  <a:lnTo>
                    <a:pt x="2122" y="1825"/>
                  </a:lnTo>
                  <a:lnTo>
                    <a:pt x="2126" y="1841"/>
                  </a:lnTo>
                  <a:lnTo>
                    <a:pt x="2129" y="1857"/>
                  </a:lnTo>
                  <a:lnTo>
                    <a:pt x="2131" y="1871"/>
                  </a:lnTo>
                  <a:lnTo>
                    <a:pt x="2132" y="1886"/>
                  </a:lnTo>
                  <a:lnTo>
                    <a:pt x="2132" y="1899"/>
                  </a:lnTo>
                  <a:lnTo>
                    <a:pt x="2132" y="1913"/>
                  </a:lnTo>
                  <a:lnTo>
                    <a:pt x="2130" y="1935"/>
                  </a:lnTo>
                  <a:lnTo>
                    <a:pt x="2127" y="1955"/>
                  </a:lnTo>
                  <a:lnTo>
                    <a:pt x="2124" y="1970"/>
                  </a:lnTo>
                  <a:lnTo>
                    <a:pt x="2121" y="1981"/>
                  </a:lnTo>
                  <a:lnTo>
                    <a:pt x="2112" y="2008"/>
                  </a:lnTo>
                  <a:lnTo>
                    <a:pt x="2104" y="2033"/>
                  </a:lnTo>
                  <a:lnTo>
                    <a:pt x="2094" y="2058"/>
                  </a:lnTo>
                  <a:lnTo>
                    <a:pt x="2082" y="2082"/>
                  </a:lnTo>
                  <a:lnTo>
                    <a:pt x="2070" y="2104"/>
                  </a:lnTo>
                  <a:lnTo>
                    <a:pt x="2056" y="2124"/>
                  </a:lnTo>
                  <a:lnTo>
                    <a:pt x="2041" y="2144"/>
                  </a:lnTo>
                  <a:lnTo>
                    <a:pt x="2025" y="2162"/>
                  </a:lnTo>
                  <a:lnTo>
                    <a:pt x="2009" y="2180"/>
                  </a:lnTo>
                  <a:lnTo>
                    <a:pt x="1990" y="2197"/>
                  </a:lnTo>
                  <a:lnTo>
                    <a:pt x="1972" y="2212"/>
                  </a:lnTo>
                  <a:lnTo>
                    <a:pt x="1952" y="2225"/>
                  </a:lnTo>
                  <a:lnTo>
                    <a:pt x="1930" y="2239"/>
                  </a:lnTo>
                  <a:lnTo>
                    <a:pt x="1908" y="2251"/>
                  </a:lnTo>
                  <a:lnTo>
                    <a:pt x="1886" y="2263"/>
                  </a:lnTo>
                  <a:lnTo>
                    <a:pt x="1862" y="2273"/>
                  </a:lnTo>
                  <a:lnTo>
                    <a:pt x="1838" y="2282"/>
                  </a:lnTo>
                  <a:lnTo>
                    <a:pt x="1812" y="2292"/>
                  </a:lnTo>
                  <a:lnTo>
                    <a:pt x="1786" y="2300"/>
                  </a:lnTo>
                  <a:lnTo>
                    <a:pt x="1759" y="2307"/>
                  </a:lnTo>
                  <a:lnTo>
                    <a:pt x="1731" y="2313"/>
                  </a:lnTo>
                  <a:lnTo>
                    <a:pt x="1702" y="2318"/>
                  </a:lnTo>
                  <a:lnTo>
                    <a:pt x="1673" y="2324"/>
                  </a:lnTo>
                  <a:lnTo>
                    <a:pt x="1643" y="2329"/>
                  </a:lnTo>
                  <a:lnTo>
                    <a:pt x="1613" y="2332"/>
                  </a:lnTo>
                  <a:lnTo>
                    <a:pt x="1581" y="2335"/>
                  </a:lnTo>
                  <a:lnTo>
                    <a:pt x="1550" y="2338"/>
                  </a:lnTo>
                  <a:lnTo>
                    <a:pt x="1517" y="2340"/>
                  </a:lnTo>
                  <a:lnTo>
                    <a:pt x="1451" y="2343"/>
                  </a:lnTo>
                  <a:lnTo>
                    <a:pt x="1383" y="2344"/>
                  </a:lnTo>
                  <a:lnTo>
                    <a:pt x="1322" y="2344"/>
                  </a:lnTo>
                  <a:lnTo>
                    <a:pt x="1262" y="2343"/>
                  </a:lnTo>
                  <a:lnTo>
                    <a:pt x="1203" y="2342"/>
                  </a:lnTo>
                  <a:lnTo>
                    <a:pt x="1146" y="2340"/>
                  </a:lnTo>
                  <a:lnTo>
                    <a:pt x="1091" y="2337"/>
                  </a:lnTo>
                  <a:lnTo>
                    <a:pt x="1036" y="2334"/>
                  </a:lnTo>
                  <a:lnTo>
                    <a:pt x="984" y="2330"/>
                  </a:lnTo>
                  <a:lnTo>
                    <a:pt x="933" y="2325"/>
                  </a:lnTo>
                  <a:lnTo>
                    <a:pt x="836" y="2314"/>
                  </a:lnTo>
                  <a:lnTo>
                    <a:pt x="747" y="2303"/>
                  </a:lnTo>
                  <a:lnTo>
                    <a:pt x="664" y="2292"/>
                  </a:lnTo>
                  <a:lnTo>
                    <a:pt x="589" y="2278"/>
                  </a:lnTo>
                  <a:lnTo>
                    <a:pt x="522" y="2266"/>
                  </a:lnTo>
                  <a:lnTo>
                    <a:pt x="463" y="2253"/>
                  </a:lnTo>
                  <a:lnTo>
                    <a:pt x="411" y="2241"/>
                  </a:lnTo>
                  <a:lnTo>
                    <a:pt x="368" y="2231"/>
                  </a:lnTo>
                  <a:lnTo>
                    <a:pt x="335" y="2222"/>
                  </a:lnTo>
                  <a:lnTo>
                    <a:pt x="311" y="2215"/>
                  </a:lnTo>
                  <a:lnTo>
                    <a:pt x="296" y="2211"/>
                  </a:lnTo>
                  <a:lnTo>
                    <a:pt x="291" y="2209"/>
                  </a:lnTo>
                  <a:lnTo>
                    <a:pt x="0" y="3408"/>
                  </a:lnTo>
                  <a:lnTo>
                    <a:pt x="8" y="3410"/>
                  </a:lnTo>
                  <a:lnTo>
                    <a:pt x="33" y="3415"/>
                  </a:lnTo>
                  <a:lnTo>
                    <a:pt x="74" y="3422"/>
                  </a:lnTo>
                  <a:lnTo>
                    <a:pt x="131" y="3433"/>
                  </a:lnTo>
                  <a:lnTo>
                    <a:pt x="203" y="3445"/>
                  </a:lnTo>
                  <a:lnTo>
                    <a:pt x="289" y="3458"/>
                  </a:lnTo>
                  <a:lnTo>
                    <a:pt x="388" y="3471"/>
                  </a:lnTo>
                  <a:lnTo>
                    <a:pt x="501" y="3484"/>
                  </a:lnTo>
                  <a:lnTo>
                    <a:pt x="562" y="3491"/>
                  </a:lnTo>
                  <a:lnTo>
                    <a:pt x="626" y="3497"/>
                  </a:lnTo>
                  <a:lnTo>
                    <a:pt x="693" y="3503"/>
                  </a:lnTo>
                  <a:lnTo>
                    <a:pt x="763" y="3508"/>
                  </a:lnTo>
                  <a:lnTo>
                    <a:pt x="836" y="3513"/>
                  </a:lnTo>
                  <a:lnTo>
                    <a:pt x="911" y="3517"/>
                  </a:lnTo>
                  <a:lnTo>
                    <a:pt x="989" y="3522"/>
                  </a:lnTo>
                  <a:lnTo>
                    <a:pt x="1070" y="3525"/>
                  </a:lnTo>
                  <a:lnTo>
                    <a:pt x="1154" y="3528"/>
                  </a:lnTo>
                  <a:lnTo>
                    <a:pt x="1239" y="3529"/>
                  </a:lnTo>
                  <a:lnTo>
                    <a:pt x="1328" y="3530"/>
                  </a:lnTo>
                  <a:lnTo>
                    <a:pt x="1418" y="3529"/>
                  </a:lnTo>
                  <a:lnTo>
                    <a:pt x="1510" y="3528"/>
                  </a:lnTo>
                  <a:lnTo>
                    <a:pt x="1605" y="3526"/>
                  </a:lnTo>
                  <a:lnTo>
                    <a:pt x="1702" y="3522"/>
                  </a:lnTo>
                  <a:lnTo>
                    <a:pt x="1801" y="3517"/>
                  </a:lnTo>
                  <a:lnTo>
                    <a:pt x="1931" y="3507"/>
                  </a:lnTo>
                  <a:lnTo>
                    <a:pt x="2057" y="3493"/>
                  </a:lnTo>
                  <a:lnTo>
                    <a:pt x="2179" y="3474"/>
                  </a:lnTo>
                  <a:lnTo>
                    <a:pt x="2297" y="3450"/>
                  </a:lnTo>
                  <a:lnTo>
                    <a:pt x="2409" y="3422"/>
                  </a:lnTo>
                  <a:lnTo>
                    <a:pt x="2518" y="3389"/>
                  </a:lnTo>
                  <a:lnTo>
                    <a:pt x="2623" y="3353"/>
                  </a:lnTo>
                  <a:lnTo>
                    <a:pt x="2723" y="3314"/>
                  </a:lnTo>
                  <a:lnTo>
                    <a:pt x="2819" y="3271"/>
                  </a:lnTo>
                  <a:lnTo>
                    <a:pt x="2911" y="3223"/>
                  </a:lnTo>
                  <a:lnTo>
                    <a:pt x="2998" y="3173"/>
                  </a:lnTo>
                  <a:lnTo>
                    <a:pt x="3082" y="3119"/>
                  </a:lnTo>
                  <a:lnTo>
                    <a:pt x="3162" y="3062"/>
                  </a:lnTo>
                  <a:lnTo>
                    <a:pt x="3237" y="3003"/>
                  </a:lnTo>
                  <a:lnTo>
                    <a:pt x="3308" y="2941"/>
                  </a:lnTo>
                  <a:lnTo>
                    <a:pt x="3375" y="2876"/>
                  </a:lnTo>
                  <a:lnTo>
                    <a:pt x="3438" y="2809"/>
                  </a:lnTo>
                  <a:lnTo>
                    <a:pt x="3497" y="2740"/>
                  </a:lnTo>
                  <a:lnTo>
                    <a:pt x="3552" y="2669"/>
                  </a:lnTo>
                  <a:lnTo>
                    <a:pt x="3604" y="2596"/>
                  </a:lnTo>
                  <a:lnTo>
                    <a:pt x="3650" y="2521"/>
                  </a:lnTo>
                  <a:lnTo>
                    <a:pt x="3694" y="2445"/>
                  </a:lnTo>
                  <a:lnTo>
                    <a:pt x="3733" y="2367"/>
                  </a:lnTo>
                  <a:lnTo>
                    <a:pt x="3768" y="2288"/>
                  </a:lnTo>
                  <a:lnTo>
                    <a:pt x="3799" y="2209"/>
                  </a:lnTo>
                  <a:lnTo>
                    <a:pt x="3827" y="2128"/>
                  </a:lnTo>
                  <a:lnTo>
                    <a:pt x="3851" y="2047"/>
                  </a:lnTo>
                  <a:lnTo>
                    <a:pt x="3871" y="1965"/>
                  </a:lnTo>
                  <a:lnTo>
                    <a:pt x="3886" y="1883"/>
                  </a:lnTo>
                  <a:lnTo>
                    <a:pt x="3899" y="1800"/>
                  </a:lnTo>
                  <a:lnTo>
                    <a:pt x="3907" y="1717"/>
                  </a:lnTo>
                  <a:lnTo>
                    <a:pt x="3912" y="1635"/>
                  </a:lnTo>
                  <a:lnTo>
                    <a:pt x="3912" y="1583"/>
                  </a:lnTo>
                  <a:lnTo>
                    <a:pt x="3910" y="1533"/>
                  </a:lnTo>
                  <a:lnTo>
                    <a:pt x="3905" y="1483"/>
                  </a:lnTo>
                  <a:lnTo>
                    <a:pt x="3898" y="1434"/>
                  </a:lnTo>
                  <a:lnTo>
                    <a:pt x="3887" y="1387"/>
                  </a:lnTo>
                  <a:lnTo>
                    <a:pt x="3875" y="1340"/>
                  </a:lnTo>
                  <a:lnTo>
                    <a:pt x="3860" y="1295"/>
                  </a:lnTo>
                  <a:lnTo>
                    <a:pt x="3844" y="1251"/>
                  </a:lnTo>
                  <a:lnTo>
                    <a:pt x="3825" y="1206"/>
                  </a:lnTo>
                  <a:lnTo>
                    <a:pt x="3805" y="1164"/>
                  </a:lnTo>
                  <a:lnTo>
                    <a:pt x="3782" y="1122"/>
                  </a:lnTo>
                  <a:lnTo>
                    <a:pt x="3757" y="1080"/>
                  </a:lnTo>
                  <a:lnTo>
                    <a:pt x="3730" y="1040"/>
                  </a:lnTo>
                  <a:lnTo>
                    <a:pt x="3702" y="1000"/>
                  </a:lnTo>
                  <a:lnTo>
                    <a:pt x="3672" y="961"/>
                  </a:lnTo>
                  <a:lnTo>
                    <a:pt x="3641" y="922"/>
                  </a:lnTo>
                  <a:lnTo>
                    <a:pt x="3608" y="885"/>
                  </a:lnTo>
                  <a:lnTo>
                    <a:pt x="3575" y="848"/>
                  </a:lnTo>
                  <a:lnTo>
                    <a:pt x="3539" y="812"/>
                  </a:lnTo>
                  <a:lnTo>
                    <a:pt x="3502" y="776"/>
                  </a:lnTo>
                  <a:lnTo>
                    <a:pt x="3465" y="740"/>
                  </a:lnTo>
                  <a:lnTo>
                    <a:pt x="3427" y="706"/>
                  </a:lnTo>
                  <a:lnTo>
                    <a:pt x="3387" y="672"/>
                  </a:lnTo>
                  <a:lnTo>
                    <a:pt x="3347" y="639"/>
                  </a:lnTo>
                  <a:lnTo>
                    <a:pt x="3307" y="606"/>
                  </a:lnTo>
                  <a:lnTo>
                    <a:pt x="3265" y="573"/>
                  </a:lnTo>
                  <a:lnTo>
                    <a:pt x="3223" y="541"/>
                  </a:lnTo>
                  <a:lnTo>
                    <a:pt x="3180" y="509"/>
                  </a:lnTo>
                  <a:lnTo>
                    <a:pt x="3096" y="447"/>
                  </a:lnTo>
                  <a:lnTo>
                    <a:pt x="3009" y="38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E50655E-776B-480B-95A2-5DB740D7F2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01808" y="6094540"/>
              <a:ext cx="195150" cy="285091"/>
            </a:xfrm>
            <a:custGeom>
              <a:avLst/>
              <a:gdLst>
                <a:gd name="T0" fmla="*/ 2165 w 2638"/>
                <a:gd name="T1" fmla="*/ 2636 h 3868"/>
                <a:gd name="T2" fmla="*/ 2059 w 2638"/>
                <a:gd name="T3" fmla="*/ 2630 h 3868"/>
                <a:gd name="T4" fmla="*/ 1961 w 2638"/>
                <a:gd name="T5" fmla="*/ 2615 h 3868"/>
                <a:gd name="T6" fmla="*/ 1880 w 2638"/>
                <a:gd name="T7" fmla="*/ 2590 h 3868"/>
                <a:gd name="T8" fmla="*/ 1835 w 2638"/>
                <a:gd name="T9" fmla="*/ 2569 h 3868"/>
                <a:gd name="T10" fmla="*/ 1808 w 2638"/>
                <a:gd name="T11" fmla="*/ 2549 h 3868"/>
                <a:gd name="T12" fmla="*/ 1786 w 2638"/>
                <a:gd name="T13" fmla="*/ 2526 h 3868"/>
                <a:gd name="T14" fmla="*/ 1762 w 2638"/>
                <a:gd name="T15" fmla="*/ 2490 h 3868"/>
                <a:gd name="T16" fmla="*/ 1744 w 2638"/>
                <a:gd name="T17" fmla="*/ 2451 h 3868"/>
                <a:gd name="T18" fmla="*/ 1732 w 2638"/>
                <a:gd name="T19" fmla="*/ 2407 h 3868"/>
                <a:gd name="T20" fmla="*/ 1724 w 2638"/>
                <a:gd name="T21" fmla="*/ 2362 h 3868"/>
                <a:gd name="T22" fmla="*/ 1721 w 2638"/>
                <a:gd name="T23" fmla="*/ 2267 h 3868"/>
                <a:gd name="T24" fmla="*/ 1730 w 2638"/>
                <a:gd name="T25" fmla="*/ 2172 h 3868"/>
                <a:gd name="T26" fmla="*/ 2204 w 2638"/>
                <a:gd name="T27" fmla="*/ 0 h 3868"/>
                <a:gd name="T28" fmla="*/ 1895 w 2638"/>
                <a:gd name="T29" fmla="*/ 17 h 3868"/>
                <a:gd name="T30" fmla="*/ 1582 w 2638"/>
                <a:gd name="T31" fmla="*/ 33 h 3868"/>
                <a:gd name="T32" fmla="*/ 1267 w 2638"/>
                <a:gd name="T33" fmla="*/ 52 h 3868"/>
                <a:gd name="T34" fmla="*/ 950 w 2638"/>
                <a:gd name="T35" fmla="*/ 71 h 3868"/>
                <a:gd name="T36" fmla="*/ 633 w 2638"/>
                <a:gd name="T37" fmla="*/ 93 h 3868"/>
                <a:gd name="T38" fmla="*/ 474 w 2638"/>
                <a:gd name="T39" fmla="*/ 336 h 3868"/>
                <a:gd name="T40" fmla="*/ 391 w 2638"/>
                <a:gd name="T41" fmla="*/ 698 h 3868"/>
                <a:gd name="T42" fmla="*/ 306 w 2638"/>
                <a:gd name="T43" fmla="*/ 1068 h 3868"/>
                <a:gd name="T44" fmla="*/ 219 w 2638"/>
                <a:gd name="T45" fmla="*/ 1444 h 3868"/>
                <a:gd name="T46" fmla="*/ 132 w 2638"/>
                <a:gd name="T47" fmla="*/ 1823 h 3868"/>
                <a:gd name="T48" fmla="*/ 64 w 2638"/>
                <a:gd name="T49" fmla="*/ 2120 h 3868"/>
                <a:gd name="T50" fmla="*/ 38 w 2638"/>
                <a:gd name="T51" fmla="*/ 2255 h 3868"/>
                <a:gd name="T52" fmla="*/ 18 w 2638"/>
                <a:gd name="T53" fmla="*/ 2389 h 3868"/>
                <a:gd name="T54" fmla="*/ 5 w 2638"/>
                <a:gd name="T55" fmla="*/ 2524 h 3868"/>
                <a:gd name="T56" fmla="*/ 0 w 2638"/>
                <a:gd name="T57" fmla="*/ 2659 h 3868"/>
                <a:gd name="T58" fmla="*/ 5 w 2638"/>
                <a:gd name="T59" fmla="*/ 2793 h 3868"/>
                <a:gd name="T60" fmla="*/ 21 w 2638"/>
                <a:gd name="T61" fmla="*/ 2924 h 3868"/>
                <a:gd name="T62" fmla="*/ 48 w 2638"/>
                <a:gd name="T63" fmla="*/ 3052 h 3868"/>
                <a:gd name="T64" fmla="*/ 87 w 2638"/>
                <a:gd name="T65" fmla="*/ 3176 h 3868"/>
                <a:gd name="T66" fmla="*/ 141 w 2638"/>
                <a:gd name="T67" fmla="*/ 3295 h 3868"/>
                <a:gd name="T68" fmla="*/ 210 w 2638"/>
                <a:gd name="T69" fmla="*/ 3407 h 3868"/>
                <a:gd name="T70" fmla="*/ 274 w 2638"/>
                <a:gd name="T71" fmla="*/ 3488 h 3868"/>
                <a:gd name="T72" fmla="*/ 336 w 2638"/>
                <a:gd name="T73" fmla="*/ 3552 h 3868"/>
                <a:gd name="T74" fmla="*/ 406 w 2638"/>
                <a:gd name="T75" fmla="*/ 3612 h 3868"/>
                <a:gd name="T76" fmla="*/ 483 w 2638"/>
                <a:gd name="T77" fmla="*/ 3667 h 3868"/>
                <a:gd name="T78" fmla="*/ 568 w 2638"/>
                <a:gd name="T79" fmla="*/ 3717 h 3868"/>
                <a:gd name="T80" fmla="*/ 662 w 2638"/>
                <a:gd name="T81" fmla="*/ 3760 h 3868"/>
                <a:gd name="T82" fmla="*/ 766 w 2638"/>
                <a:gd name="T83" fmla="*/ 3798 h 3868"/>
                <a:gd name="T84" fmla="*/ 879 w 2638"/>
                <a:gd name="T85" fmla="*/ 3827 h 3868"/>
                <a:gd name="T86" fmla="*/ 1001 w 2638"/>
                <a:gd name="T87" fmla="*/ 3849 h 3868"/>
                <a:gd name="T88" fmla="*/ 1134 w 2638"/>
                <a:gd name="T89" fmla="*/ 3863 h 3868"/>
                <a:gd name="T90" fmla="*/ 1278 w 2638"/>
                <a:gd name="T91" fmla="*/ 3868 h 3868"/>
                <a:gd name="T92" fmla="*/ 1475 w 2638"/>
                <a:gd name="T93" fmla="*/ 3865 h 3868"/>
                <a:gd name="T94" fmla="*/ 1684 w 2638"/>
                <a:gd name="T95" fmla="*/ 3854 h 3868"/>
                <a:gd name="T96" fmla="*/ 1899 w 2638"/>
                <a:gd name="T97" fmla="*/ 3834 h 3868"/>
                <a:gd name="T98" fmla="*/ 2118 w 2638"/>
                <a:gd name="T99" fmla="*/ 3802 h 3868"/>
                <a:gd name="T100" fmla="*/ 2336 w 2638"/>
                <a:gd name="T101" fmla="*/ 3754 h 3868"/>
                <a:gd name="T102" fmla="*/ 2592 w 2638"/>
                <a:gd name="T103" fmla="*/ 2620 h 3868"/>
                <a:gd name="T104" fmla="*/ 2448 w 2638"/>
                <a:gd name="T105" fmla="*/ 2631 h 3868"/>
                <a:gd name="T106" fmla="*/ 2294 w 2638"/>
                <a:gd name="T107" fmla="*/ 2637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8" h="3868">
                  <a:moveTo>
                    <a:pt x="2241" y="2637"/>
                  </a:moveTo>
                  <a:lnTo>
                    <a:pt x="2202" y="2637"/>
                  </a:lnTo>
                  <a:lnTo>
                    <a:pt x="2165" y="2636"/>
                  </a:lnTo>
                  <a:lnTo>
                    <a:pt x="2129" y="2635"/>
                  </a:lnTo>
                  <a:lnTo>
                    <a:pt x="2093" y="2633"/>
                  </a:lnTo>
                  <a:lnTo>
                    <a:pt x="2059" y="2630"/>
                  </a:lnTo>
                  <a:lnTo>
                    <a:pt x="2024" y="2625"/>
                  </a:lnTo>
                  <a:lnTo>
                    <a:pt x="1992" y="2620"/>
                  </a:lnTo>
                  <a:lnTo>
                    <a:pt x="1961" y="2615"/>
                  </a:lnTo>
                  <a:lnTo>
                    <a:pt x="1932" y="2608"/>
                  </a:lnTo>
                  <a:lnTo>
                    <a:pt x="1905" y="2600"/>
                  </a:lnTo>
                  <a:lnTo>
                    <a:pt x="1880" y="2590"/>
                  </a:lnTo>
                  <a:lnTo>
                    <a:pt x="1856" y="2580"/>
                  </a:lnTo>
                  <a:lnTo>
                    <a:pt x="1845" y="2575"/>
                  </a:lnTo>
                  <a:lnTo>
                    <a:pt x="1835" y="2569"/>
                  </a:lnTo>
                  <a:lnTo>
                    <a:pt x="1826" y="2562"/>
                  </a:lnTo>
                  <a:lnTo>
                    <a:pt x="1816" y="2556"/>
                  </a:lnTo>
                  <a:lnTo>
                    <a:pt x="1808" y="2549"/>
                  </a:lnTo>
                  <a:lnTo>
                    <a:pt x="1800" y="2542"/>
                  </a:lnTo>
                  <a:lnTo>
                    <a:pt x="1794" y="2533"/>
                  </a:lnTo>
                  <a:lnTo>
                    <a:pt x="1786" y="2526"/>
                  </a:lnTo>
                  <a:lnTo>
                    <a:pt x="1778" y="2515"/>
                  </a:lnTo>
                  <a:lnTo>
                    <a:pt x="1770" y="2502"/>
                  </a:lnTo>
                  <a:lnTo>
                    <a:pt x="1762" y="2490"/>
                  </a:lnTo>
                  <a:lnTo>
                    <a:pt x="1755" y="2478"/>
                  </a:lnTo>
                  <a:lnTo>
                    <a:pt x="1749" y="2464"/>
                  </a:lnTo>
                  <a:lnTo>
                    <a:pt x="1744" y="2451"/>
                  </a:lnTo>
                  <a:lnTo>
                    <a:pt x="1739" y="2437"/>
                  </a:lnTo>
                  <a:lnTo>
                    <a:pt x="1735" y="2423"/>
                  </a:lnTo>
                  <a:lnTo>
                    <a:pt x="1732" y="2407"/>
                  </a:lnTo>
                  <a:lnTo>
                    <a:pt x="1728" y="2393"/>
                  </a:lnTo>
                  <a:lnTo>
                    <a:pt x="1725" y="2378"/>
                  </a:lnTo>
                  <a:lnTo>
                    <a:pt x="1724" y="2362"/>
                  </a:lnTo>
                  <a:lnTo>
                    <a:pt x="1721" y="2331"/>
                  </a:lnTo>
                  <a:lnTo>
                    <a:pt x="1720" y="2299"/>
                  </a:lnTo>
                  <a:lnTo>
                    <a:pt x="1721" y="2267"/>
                  </a:lnTo>
                  <a:lnTo>
                    <a:pt x="1723" y="2235"/>
                  </a:lnTo>
                  <a:lnTo>
                    <a:pt x="1726" y="2203"/>
                  </a:lnTo>
                  <a:lnTo>
                    <a:pt x="1730" y="2172"/>
                  </a:lnTo>
                  <a:lnTo>
                    <a:pt x="1740" y="2112"/>
                  </a:lnTo>
                  <a:lnTo>
                    <a:pt x="1749" y="2057"/>
                  </a:lnTo>
                  <a:lnTo>
                    <a:pt x="2204" y="0"/>
                  </a:lnTo>
                  <a:lnTo>
                    <a:pt x="2102" y="5"/>
                  </a:lnTo>
                  <a:lnTo>
                    <a:pt x="1999" y="11"/>
                  </a:lnTo>
                  <a:lnTo>
                    <a:pt x="1895" y="17"/>
                  </a:lnTo>
                  <a:lnTo>
                    <a:pt x="1790" y="22"/>
                  </a:lnTo>
                  <a:lnTo>
                    <a:pt x="1687" y="28"/>
                  </a:lnTo>
                  <a:lnTo>
                    <a:pt x="1582" y="33"/>
                  </a:lnTo>
                  <a:lnTo>
                    <a:pt x="1477" y="39"/>
                  </a:lnTo>
                  <a:lnTo>
                    <a:pt x="1372" y="46"/>
                  </a:lnTo>
                  <a:lnTo>
                    <a:pt x="1267" y="52"/>
                  </a:lnTo>
                  <a:lnTo>
                    <a:pt x="1161" y="59"/>
                  </a:lnTo>
                  <a:lnTo>
                    <a:pt x="1056" y="65"/>
                  </a:lnTo>
                  <a:lnTo>
                    <a:pt x="950" y="71"/>
                  </a:lnTo>
                  <a:lnTo>
                    <a:pt x="845" y="79"/>
                  </a:lnTo>
                  <a:lnTo>
                    <a:pt x="739" y="86"/>
                  </a:lnTo>
                  <a:lnTo>
                    <a:pt x="633" y="93"/>
                  </a:lnTo>
                  <a:lnTo>
                    <a:pt x="528" y="100"/>
                  </a:lnTo>
                  <a:lnTo>
                    <a:pt x="501" y="218"/>
                  </a:lnTo>
                  <a:lnTo>
                    <a:pt x="474" y="336"/>
                  </a:lnTo>
                  <a:lnTo>
                    <a:pt x="446" y="456"/>
                  </a:lnTo>
                  <a:lnTo>
                    <a:pt x="419" y="576"/>
                  </a:lnTo>
                  <a:lnTo>
                    <a:pt x="391" y="698"/>
                  </a:lnTo>
                  <a:lnTo>
                    <a:pt x="362" y="820"/>
                  </a:lnTo>
                  <a:lnTo>
                    <a:pt x="334" y="944"/>
                  </a:lnTo>
                  <a:lnTo>
                    <a:pt x="306" y="1068"/>
                  </a:lnTo>
                  <a:lnTo>
                    <a:pt x="277" y="1193"/>
                  </a:lnTo>
                  <a:lnTo>
                    <a:pt x="248" y="1318"/>
                  </a:lnTo>
                  <a:lnTo>
                    <a:pt x="219" y="1444"/>
                  </a:lnTo>
                  <a:lnTo>
                    <a:pt x="190" y="1570"/>
                  </a:lnTo>
                  <a:lnTo>
                    <a:pt x="161" y="1696"/>
                  </a:lnTo>
                  <a:lnTo>
                    <a:pt x="132" y="1823"/>
                  </a:lnTo>
                  <a:lnTo>
                    <a:pt x="103" y="1950"/>
                  </a:lnTo>
                  <a:lnTo>
                    <a:pt x="73" y="2077"/>
                  </a:lnTo>
                  <a:lnTo>
                    <a:pt x="64" y="2120"/>
                  </a:lnTo>
                  <a:lnTo>
                    <a:pt x="55" y="2165"/>
                  </a:lnTo>
                  <a:lnTo>
                    <a:pt x="47" y="2209"/>
                  </a:lnTo>
                  <a:lnTo>
                    <a:pt x="38" y="2255"/>
                  </a:lnTo>
                  <a:lnTo>
                    <a:pt x="31" y="2299"/>
                  </a:lnTo>
                  <a:lnTo>
                    <a:pt x="24" y="2344"/>
                  </a:lnTo>
                  <a:lnTo>
                    <a:pt x="18" y="2389"/>
                  </a:lnTo>
                  <a:lnTo>
                    <a:pt x="12" y="2434"/>
                  </a:lnTo>
                  <a:lnTo>
                    <a:pt x="8" y="2480"/>
                  </a:lnTo>
                  <a:lnTo>
                    <a:pt x="5" y="2524"/>
                  </a:lnTo>
                  <a:lnTo>
                    <a:pt x="2" y="2570"/>
                  </a:lnTo>
                  <a:lnTo>
                    <a:pt x="1" y="2614"/>
                  </a:lnTo>
                  <a:lnTo>
                    <a:pt x="0" y="2659"/>
                  </a:lnTo>
                  <a:lnTo>
                    <a:pt x="1" y="2704"/>
                  </a:lnTo>
                  <a:lnTo>
                    <a:pt x="2" y="2748"/>
                  </a:lnTo>
                  <a:lnTo>
                    <a:pt x="5" y="2793"/>
                  </a:lnTo>
                  <a:lnTo>
                    <a:pt x="9" y="2837"/>
                  </a:lnTo>
                  <a:lnTo>
                    <a:pt x="13" y="2880"/>
                  </a:lnTo>
                  <a:lnTo>
                    <a:pt x="21" y="2924"/>
                  </a:lnTo>
                  <a:lnTo>
                    <a:pt x="28" y="2967"/>
                  </a:lnTo>
                  <a:lnTo>
                    <a:pt x="37" y="3010"/>
                  </a:lnTo>
                  <a:lnTo>
                    <a:pt x="48" y="3052"/>
                  </a:lnTo>
                  <a:lnTo>
                    <a:pt x="59" y="3093"/>
                  </a:lnTo>
                  <a:lnTo>
                    <a:pt x="72" y="3135"/>
                  </a:lnTo>
                  <a:lnTo>
                    <a:pt x="87" y="3176"/>
                  </a:lnTo>
                  <a:lnTo>
                    <a:pt x="103" y="3216"/>
                  </a:lnTo>
                  <a:lnTo>
                    <a:pt x="121" y="3255"/>
                  </a:lnTo>
                  <a:lnTo>
                    <a:pt x="141" y="3295"/>
                  </a:lnTo>
                  <a:lnTo>
                    <a:pt x="162" y="3333"/>
                  </a:lnTo>
                  <a:lnTo>
                    <a:pt x="185" y="3370"/>
                  </a:lnTo>
                  <a:lnTo>
                    <a:pt x="210" y="3407"/>
                  </a:lnTo>
                  <a:lnTo>
                    <a:pt x="236" y="3443"/>
                  </a:lnTo>
                  <a:lnTo>
                    <a:pt x="255" y="3466"/>
                  </a:lnTo>
                  <a:lnTo>
                    <a:pt x="274" y="3488"/>
                  </a:lnTo>
                  <a:lnTo>
                    <a:pt x="294" y="3509"/>
                  </a:lnTo>
                  <a:lnTo>
                    <a:pt x="315" y="3531"/>
                  </a:lnTo>
                  <a:lnTo>
                    <a:pt x="336" y="3552"/>
                  </a:lnTo>
                  <a:lnTo>
                    <a:pt x="358" y="3572"/>
                  </a:lnTo>
                  <a:lnTo>
                    <a:pt x="382" y="3593"/>
                  </a:lnTo>
                  <a:lnTo>
                    <a:pt x="406" y="3612"/>
                  </a:lnTo>
                  <a:lnTo>
                    <a:pt x="431" y="3631"/>
                  </a:lnTo>
                  <a:lnTo>
                    <a:pt x="456" y="3650"/>
                  </a:lnTo>
                  <a:lnTo>
                    <a:pt x="483" y="3667"/>
                  </a:lnTo>
                  <a:lnTo>
                    <a:pt x="510" y="3684"/>
                  </a:lnTo>
                  <a:lnTo>
                    <a:pt x="539" y="3700"/>
                  </a:lnTo>
                  <a:lnTo>
                    <a:pt x="568" y="3717"/>
                  </a:lnTo>
                  <a:lnTo>
                    <a:pt x="598" y="3732"/>
                  </a:lnTo>
                  <a:lnTo>
                    <a:pt x="630" y="3747"/>
                  </a:lnTo>
                  <a:lnTo>
                    <a:pt x="662" y="3760"/>
                  </a:lnTo>
                  <a:lnTo>
                    <a:pt x="695" y="3774"/>
                  </a:lnTo>
                  <a:lnTo>
                    <a:pt x="730" y="3786"/>
                  </a:lnTo>
                  <a:lnTo>
                    <a:pt x="766" y="3798"/>
                  </a:lnTo>
                  <a:lnTo>
                    <a:pt x="802" y="3808"/>
                  </a:lnTo>
                  <a:lnTo>
                    <a:pt x="839" y="3818"/>
                  </a:lnTo>
                  <a:lnTo>
                    <a:pt x="879" y="3827"/>
                  </a:lnTo>
                  <a:lnTo>
                    <a:pt x="918" y="3836"/>
                  </a:lnTo>
                  <a:lnTo>
                    <a:pt x="958" y="3843"/>
                  </a:lnTo>
                  <a:lnTo>
                    <a:pt x="1001" y="3849"/>
                  </a:lnTo>
                  <a:lnTo>
                    <a:pt x="1044" y="3854"/>
                  </a:lnTo>
                  <a:lnTo>
                    <a:pt x="1089" y="3860"/>
                  </a:lnTo>
                  <a:lnTo>
                    <a:pt x="1134" y="3863"/>
                  </a:lnTo>
                  <a:lnTo>
                    <a:pt x="1181" y="3866"/>
                  </a:lnTo>
                  <a:lnTo>
                    <a:pt x="1228" y="3867"/>
                  </a:lnTo>
                  <a:lnTo>
                    <a:pt x="1278" y="3868"/>
                  </a:lnTo>
                  <a:lnTo>
                    <a:pt x="1342" y="3867"/>
                  </a:lnTo>
                  <a:lnTo>
                    <a:pt x="1408" y="3866"/>
                  </a:lnTo>
                  <a:lnTo>
                    <a:pt x="1475" y="3865"/>
                  </a:lnTo>
                  <a:lnTo>
                    <a:pt x="1543" y="3862"/>
                  </a:lnTo>
                  <a:lnTo>
                    <a:pt x="1612" y="3858"/>
                  </a:lnTo>
                  <a:lnTo>
                    <a:pt x="1684" y="3854"/>
                  </a:lnTo>
                  <a:lnTo>
                    <a:pt x="1754" y="3848"/>
                  </a:lnTo>
                  <a:lnTo>
                    <a:pt x="1827" y="3842"/>
                  </a:lnTo>
                  <a:lnTo>
                    <a:pt x="1899" y="3834"/>
                  </a:lnTo>
                  <a:lnTo>
                    <a:pt x="1972" y="3824"/>
                  </a:lnTo>
                  <a:lnTo>
                    <a:pt x="2045" y="3814"/>
                  </a:lnTo>
                  <a:lnTo>
                    <a:pt x="2118" y="3802"/>
                  </a:lnTo>
                  <a:lnTo>
                    <a:pt x="2191" y="3787"/>
                  </a:lnTo>
                  <a:lnTo>
                    <a:pt x="2263" y="3772"/>
                  </a:lnTo>
                  <a:lnTo>
                    <a:pt x="2336" y="3754"/>
                  </a:lnTo>
                  <a:lnTo>
                    <a:pt x="2407" y="3736"/>
                  </a:lnTo>
                  <a:lnTo>
                    <a:pt x="2638" y="2615"/>
                  </a:lnTo>
                  <a:lnTo>
                    <a:pt x="2592" y="2620"/>
                  </a:lnTo>
                  <a:lnTo>
                    <a:pt x="2545" y="2623"/>
                  </a:lnTo>
                  <a:lnTo>
                    <a:pt x="2496" y="2627"/>
                  </a:lnTo>
                  <a:lnTo>
                    <a:pt x="2448" y="2631"/>
                  </a:lnTo>
                  <a:lnTo>
                    <a:pt x="2398" y="2634"/>
                  </a:lnTo>
                  <a:lnTo>
                    <a:pt x="2346" y="2636"/>
                  </a:lnTo>
                  <a:lnTo>
                    <a:pt x="2294" y="2637"/>
                  </a:lnTo>
                  <a:lnTo>
                    <a:pt x="2241" y="2637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12F5561-06C2-43F6-88AC-D377CA6DE51F}"/>
              </a:ext>
            </a:extLst>
          </p:cNvPr>
          <p:cNvSpPr/>
          <p:nvPr userDrawn="1"/>
        </p:nvSpPr>
        <p:spPr bwMode="gray">
          <a:xfrm>
            <a:off x="10920536" y="6092825"/>
            <a:ext cx="1271464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252000" algn="ctr">
              <a:lnSpc>
                <a:spcPct val="110000"/>
              </a:lnSpc>
              <a:buSzPct val="90000"/>
              <a:buBlip>
                <a:blip r:embed="rId3"/>
              </a:buBlip>
            </a:pPr>
            <a:endParaRPr lang="en-GB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4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hree contents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3934470"/>
            <a:ext cx="3456384" cy="215835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367808" y="3934470"/>
            <a:ext cx="3456384" cy="2158355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 bwMode="gray">
          <a:xfrm>
            <a:off x="8400257" y="3934470"/>
            <a:ext cx="3456384" cy="215835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E03126C-FA08-4913-8AD2-82A6424CC2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3535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</a:t>
            </a:r>
            <a:br>
              <a:rPr lang="en-GB" dirty="0"/>
            </a:br>
            <a:r>
              <a:rPr lang="en-GB" dirty="0"/>
              <a:t>to add picture</a:t>
            </a:r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78228765-FFB6-4354-8F32-3C210ABC27C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36760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</a:t>
            </a:r>
            <a:br>
              <a:rPr lang="en-GB" dirty="0"/>
            </a:br>
            <a:r>
              <a:rPr lang="en-GB" dirty="0"/>
              <a:t>to add picture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EAB845F0-5701-4FC1-A07B-BD53132EAAD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39985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</a:t>
            </a:r>
            <a:br>
              <a:rPr lang="en-GB" dirty="0"/>
            </a:br>
            <a:r>
              <a:rPr lang="en-GB" dirty="0"/>
              <a:t>to add picture</a:t>
            </a: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CA739D9-E3FD-40FD-968C-9DF2D067F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1B67F7FE-C051-45A5-B638-DF7FBC26D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76470736-646B-4231-8399-BA465654B6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9405B5B5-783B-4C3C-B131-C1058E7C4A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0E40B1FB-CAC8-470A-8F5F-C562A9F7C03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686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211">
          <p15:clr>
            <a:srgbClr val="F26B43"/>
          </p15:clr>
        </p15:guide>
        <p15:guide id="4" pos="2389">
          <p15:clr>
            <a:srgbClr val="F26B43"/>
          </p15:clr>
        </p15:guide>
        <p15:guide id="5" pos="2751">
          <p15:clr>
            <a:srgbClr val="F26B43"/>
          </p15:clr>
        </p15:guide>
        <p15:guide id="6" pos="4929">
          <p15:clr>
            <a:srgbClr val="F26B43"/>
          </p15:clr>
        </p15:guide>
        <p15:guide id="7" pos="5292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35359" y="1700212"/>
            <a:ext cx="11521281" cy="4392613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</a:t>
            </a:r>
            <a:br>
              <a:rPr lang="en-GB" dirty="0"/>
            </a:br>
            <a:r>
              <a:rPr lang="en-GB" dirty="0"/>
              <a:t>to add pictur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6303D0-AB82-4E8F-B517-A54970485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3D1FF9B2-AF4D-4310-B5B6-E10BC91951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E8C3053-92FA-434C-A43D-CF79A8A915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BF001CA-35A7-4E7F-98BA-6CED93BE1FA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F6C944-C092-4AD0-8666-83ED7EE6E0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13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2D2730-03DF-4759-80CC-A985ED7BAE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BA110D97-A01A-48F7-B895-AE4863EEE1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00D718-BCB5-44D2-AE19-E13F3B6C83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34074FE0-6A1A-4C5B-8C34-C635518CFA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1071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pos="2389" userDrawn="1">
          <p15:clr>
            <a:srgbClr val="F26B43"/>
          </p15:clr>
        </p15:guide>
        <p15:guide id="6" pos="2751" userDrawn="1">
          <p15:clr>
            <a:srgbClr val="F26B43"/>
          </p15:clr>
        </p15:guide>
        <p15:guide id="7" pos="4929" userDrawn="1">
          <p15:clr>
            <a:srgbClr val="F26B43"/>
          </p15:clr>
        </p15:guide>
        <p15:guide id="8" pos="5292" userDrawn="1">
          <p15:clr>
            <a:srgbClr val="F26B43"/>
          </p15:clr>
        </p15:guide>
        <p15:guide id="9" pos="4021" userDrawn="1">
          <p15:clr>
            <a:srgbClr val="A4A3A4"/>
          </p15:clr>
        </p15:guide>
        <p15:guide id="10" pos="3659" userDrawn="1">
          <p15:clr>
            <a:srgbClr val="A4A3A4"/>
          </p15:clr>
        </p15:guide>
        <p15:guide id="11" pos="2116" userDrawn="1">
          <p15:clr>
            <a:srgbClr val="A4A3A4"/>
          </p15:clr>
        </p15:guide>
        <p15:guide id="12" pos="1753" userDrawn="1">
          <p15:clr>
            <a:srgbClr val="A4A3A4"/>
          </p15:clr>
        </p15:guide>
        <p15:guide id="13" pos="5564" userDrawn="1">
          <p15:clr>
            <a:srgbClr val="A4A3A4"/>
          </p15:clr>
        </p15:guide>
        <p15:guide id="14" pos="5927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>
            <a:extLst>
              <a:ext uri="{FF2B5EF4-FFF2-40B4-BE49-F238E27FC236}">
                <a16:creationId xmlns:a16="http://schemas.microsoft.com/office/drawing/2014/main" id="{63C2AA45-71D4-4E88-A644-FBAA380443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DB61C4E-59A8-470A-A854-586FE2BEF4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0A1DD4-DC3A-4497-AA34-5168E573C5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50B1DE8-CA59-44E5-AD8B-DAD8B00D2A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3659" userDrawn="1">
          <p15:clr>
            <a:srgbClr val="A4A3A4"/>
          </p15:clr>
        </p15:guide>
        <p15:guide id="5" pos="4021" userDrawn="1">
          <p15:clr>
            <a:srgbClr val="A4A3A4"/>
          </p15:clr>
        </p15:guide>
        <p15:guide id="6" orient="horz" pos="3838" userDrawn="1">
          <p15:clr>
            <a:srgbClr val="F26B43"/>
          </p15:clr>
        </p15:guide>
        <p15:guide id="7" pos="1753" userDrawn="1">
          <p15:clr>
            <a:srgbClr val="A4A3A4"/>
          </p15:clr>
        </p15:guide>
        <p15:guide id="8" pos="2116" userDrawn="1">
          <p15:clr>
            <a:srgbClr val="A4A3A4"/>
          </p15:clr>
        </p15:guide>
        <p15:guide id="9" pos="5564" userDrawn="1">
          <p15:clr>
            <a:srgbClr val="A4A3A4"/>
          </p15:clr>
        </p15:guide>
        <p15:guide id="10" pos="5927" userDrawn="1">
          <p15:clr>
            <a:srgbClr val="A4A3A4"/>
          </p15:clr>
        </p15:guide>
        <p15:guide id="11" pos="2751" userDrawn="1">
          <p15:clr>
            <a:srgbClr val="F26B43"/>
          </p15:clr>
        </p15:guide>
        <p15:guide id="12" pos="2389" userDrawn="1">
          <p15:clr>
            <a:srgbClr val="F26B43"/>
          </p15:clr>
        </p15:guide>
        <p15:guide id="13" pos="4929" userDrawn="1">
          <p15:clr>
            <a:srgbClr val="F26B43"/>
          </p15:clr>
        </p15:guide>
        <p15:guide id="14" pos="5292" userDrawn="1">
          <p15:clr>
            <a:srgbClr val="F26B43"/>
          </p15:clr>
        </p15:guide>
        <p15:guide id="15" orient="horz" pos="1071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D09C986A-4F2F-4398-A74A-DD93901F4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67808" y="4509224"/>
            <a:ext cx="6048671" cy="108001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  <a:p>
            <a:pPr lvl="1"/>
            <a:r>
              <a:rPr lang="en-GB" dirty="0"/>
              <a:t>Author | Position | Date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351584" y="1700213"/>
            <a:ext cx="8064896" cy="2521470"/>
          </a:xfrm>
        </p:spPr>
        <p:txBody>
          <a:bodyPr anchor="b"/>
          <a:lstStyle>
            <a:lvl1pPr algn="l">
              <a:defRPr sz="4800" b="0" i="0">
                <a:latin typeface="+mj-lt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7A2217-1D36-4031-BB0B-2D5532FBDE84}"/>
              </a:ext>
            </a:extLst>
          </p:cNvPr>
          <p:cNvSpPr/>
          <p:nvPr userDrawn="1"/>
        </p:nvSpPr>
        <p:spPr bwMode="gray">
          <a:xfrm>
            <a:off x="11568608" y="6092825"/>
            <a:ext cx="623392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0328A7C-B812-48E9-AF50-7823CAE81A4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88488" y="5949280"/>
            <a:ext cx="1224000" cy="533037"/>
            <a:chOff x="10267265" y="5877328"/>
            <a:chExt cx="1157327" cy="504000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E809D6B-696B-42B1-A667-65DDB0581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0053" y="5992722"/>
              <a:ext cx="144242" cy="110303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A57EDDB-998E-4859-B447-91E66826F2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8415" y="5989328"/>
              <a:ext cx="263029" cy="91636"/>
            </a:xfrm>
            <a:custGeom>
              <a:avLst/>
              <a:gdLst>
                <a:gd name="T0" fmla="*/ 1166 w 3567"/>
                <a:gd name="T1" fmla="*/ 1148 h 1249"/>
                <a:gd name="T2" fmla="*/ 1360 w 3567"/>
                <a:gd name="T3" fmla="*/ 1136 h 1249"/>
                <a:gd name="T4" fmla="*/ 1590 w 3567"/>
                <a:gd name="T5" fmla="*/ 1125 h 1249"/>
                <a:gd name="T6" fmla="*/ 1852 w 3567"/>
                <a:gd name="T7" fmla="*/ 1114 h 1249"/>
                <a:gd name="T8" fmla="*/ 2143 w 3567"/>
                <a:gd name="T9" fmla="*/ 1104 h 1249"/>
                <a:gd name="T10" fmla="*/ 2461 w 3567"/>
                <a:gd name="T11" fmla="*/ 1095 h 1249"/>
                <a:gd name="T12" fmla="*/ 2803 w 3567"/>
                <a:gd name="T13" fmla="*/ 1085 h 1249"/>
                <a:gd name="T14" fmla="*/ 3166 w 3567"/>
                <a:gd name="T15" fmla="*/ 1077 h 1249"/>
                <a:gd name="T16" fmla="*/ 3372 w 3567"/>
                <a:gd name="T17" fmla="*/ 991 h 1249"/>
                <a:gd name="T18" fmla="*/ 3408 w 3567"/>
                <a:gd name="T19" fmla="*/ 822 h 1249"/>
                <a:gd name="T20" fmla="*/ 3444 w 3567"/>
                <a:gd name="T21" fmla="*/ 652 h 1249"/>
                <a:gd name="T22" fmla="*/ 3480 w 3567"/>
                <a:gd name="T23" fmla="*/ 490 h 1249"/>
                <a:gd name="T24" fmla="*/ 3510 w 3567"/>
                <a:gd name="T25" fmla="*/ 343 h 1249"/>
                <a:gd name="T26" fmla="*/ 3536 w 3567"/>
                <a:gd name="T27" fmla="*/ 220 h 1249"/>
                <a:gd name="T28" fmla="*/ 3555 w 3567"/>
                <a:gd name="T29" fmla="*/ 130 h 1249"/>
                <a:gd name="T30" fmla="*/ 3565 w 3567"/>
                <a:gd name="T31" fmla="*/ 82 h 1249"/>
                <a:gd name="T32" fmla="*/ 3561 w 3567"/>
                <a:gd name="T33" fmla="*/ 74 h 1249"/>
                <a:gd name="T34" fmla="*/ 3522 w 3567"/>
                <a:gd name="T35" fmla="*/ 66 h 1249"/>
                <a:gd name="T36" fmla="*/ 3441 w 3567"/>
                <a:gd name="T37" fmla="*/ 54 h 1249"/>
                <a:gd name="T38" fmla="*/ 3319 w 3567"/>
                <a:gd name="T39" fmla="*/ 38 h 1249"/>
                <a:gd name="T40" fmla="*/ 3155 w 3567"/>
                <a:gd name="T41" fmla="*/ 23 h 1249"/>
                <a:gd name="T42" fmla="*/ 2947 w 3567"/>
                <a:gd name="T43" fmla="*/ 10 h 1249"/>
                <a:gd name="T44" fmla="*/ 2695 w 3567"/>
                <a:gd name="T45" fmla="*/ 2 h 1249"/>
                <a:gd name="T46" fmla="*/ 2476 w 3567"/>
                <a:gd name="T47" fmla="*/ 0 h 1249"/>
                <a:gd name="T48" fmla="*/ 2315 w 3567"/>
                <a:gd name="T49" fmla="*/ 1 h 1249"/>
                <a:gd name="T50" fmla="*/ 2127 w 3567"/>
                <a:gd name="T51" fmla="*/ 7 h 1249"/>
                <a:gd name="T52" fmla="*/ 1923 w 3567"/>
                <a:gd name="T53" fmla="*/ 24 h 1249"/>
                <a:gd name="T54" fmla="*/ 1726 w 3567"/>
                <a:gd name="T55" fmla="*/ 52 h 1249"/>
                <a:gd name="T56" fmla="*/ 1538 w 3567"/>
                <a:gd name="T57" fmla="*/ 90 h 1249"/>
                <a:gd name="T58" fmla="*/ 1358 w 3567"/>
                <a:gd name="T59" fmla="*/ 138 h 1249"/>
                <a:gd name="T60" fmla="*/ 1186 w 3567"/>
                <a:gd name="T61" fmla="*/ 196 h 1249"/>
                <a:gd name="T62" fmla="*/ 1024 w 3567"/>
                <a:gd name="T63" fmla="*/ 262 h 1249"/>
                <a:gd name="T64" fmla="*/ 869 w 3567"/>
                <a:gd name="T65" fmla="*/ 338 h 1249"/>
                <a:gd name="T66" fmla="*/ 727 w 3567"/>
                <a:gd name="T67" fmla="*/ 421 h 1249"/>
                <a:gd name="T68" fmla="*/ 593 w 3567"/>
                <a:gd name="T69" fmla="*/ 511 h 1249"/>
                <a:gd name="T70" fmla="*/ 470 w 3567"/>
                <a:gd name="T71" fmla="*/ 609 h 1249"/>
                <a:gd name="T72" fmla="*/ 358 w 3567"/>
                <a:gd name="T73" fmla="*/ 714 h 1249"/>
                <a:gd name="T74" fmla="*/ 257 w 3567"/>
                <a:gd name="T75" fmla="*/ 824 h 1249"/>
                <a:gd name="T76" fmla="*/ 168 w 3567"/>
                <a:gd name="T77" fmla="*/ 939 h 1249"/>
                <a:gd name="T78" fmla="*/ 91 w 3567"/>
                <a:gd name="T79" fmla="*/ 1060 h 1249"/>
                <a:gd name="T80" fmla="*/ 27 w 3567"/>
                <a:gd name="T81" fmla="*/ 1185 h 1249"/>
                <a:gd name="T82" fmla="*/ 67 w 3567"/>
                <a:gd name="T83" fmla="*/ 1242 h 1249"/>
                <a:gd name="T84" fmla="*/ 201 w 3567"/>
                <a:gd name="T85" fmla="*/ 1231 h 1249"/>
                <a:gd name="T86" fmla="*/ 335 w 3567"/>
                <a:gd name="T87" fmla="*/ 1219 h 1249"/>
                <a:gd name="T88" fmla="*/ 471 w 3567"/>
                <a:gd name="T89" fmla="*/ 1206 h 1249"/>
                <a:gd name="T90" fmla="*/ 605 w 3567"/>
                <a:gd name="T91" fmla="*/ 1195 h 1249"/>
                <a:gd name="T92" fmla="*/ 742 w 3567"/>
                <a:gd name="T93" fmla="*/ 1182 h 1249"/>
                <a:gd name="T94" fmla="*/ 879 w 3567"/>
                <a:gd name="T95" fmla="*/ 1171 h 1249"/>
                <a:gd name="T96" fmla="*/ 1015 w 3567"/>
                <a:gd name="T97" fmla="*/ 116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7" h="1249">
                  <a:moveTo>
                    <a:pt x="1084" y="1155"/>
                  </a:moveTo>
                  <a:lnTo>
                    <a:pt x="1166" y="1148"/>
                  </a:lnTo>
                  <a:lnTo>
                    <a:pt x="1259" y="1142"/>
                  </a:lnTo>
                  <a:lnTo>
                    <a:pt x="1360" y="1136"/>
                  </a:lnTo>
                  <a:lnTo>
                    <a:pt x="1471" y="1130"/>
                  </a:lnTo>
                  <a:lnTo>
                    <a:pt x="1590" y="1125"/>
                  </a:lnTo>
                  <a:lnTo>
                    <a:pt x="1717" y="1119"/>
                  </a:lnTo>
                  <a:lnTo>
                    <a:pt x="1852" y="1114"/>
                  </a:lnTo>
                  <a:lnTo>
                    <a:pt x="1994" y="1109"/>
                  </a:lnTo>
                  <a:lnTo>
                    <a:pt x="2143" y="1104"/>
                  </a:lnTo>
                  <a:lnTo>
                    <a:pt x="2299" y="1099"/>
                  </a:lnTo>
                  <a:lnTo>
                    <a:pt x="2461" y="1095"/>
                  </a:lnTo>
                  <a:lnTo>
                    <a:pt x="2630" y="1091"/>
                  </a:lnTo>
                  <a:lnTo>
                    <a:pt x="2803" y="1085"/>
                  </a:lnTo>
                  <a:lnTo>
                    <a:pt x="2982" y="1081"/>
                  </a:lnTo>
                  <a:lnTo>
                    <a:pt x="3166" y="1077"/>
                  </a:lnTo>
                  <a:lnTo>
                    <a:pt x="3354" y="1074"/>
                  </a:lnTo>
                  <a:lnTo>
                    <a:pt x="3372" y="991"/>
                  </a:lnTo>
                  <a:lnTo>
                    <a:pt x="3390" y="908"/>
                  </a:lnTo>
                  <a:lnTo>
                    <a:pt x="3408" y="822"/>
                  </a:lnTo>
                  <a:lnTo>
                    <a:pt x="3427" y="736"/>
                  </a:lnTo>
                  <a:lnTo>
                    <a:pt x="3444" y="652"/>
                  </a:lnTo>
                  <a:lnTo>
                    <a:pt x="3462" y="569"/>
                  </a:lnTo>
                  <a:lnTo>
                    <a:pt x="3480" y="490"/>
                  </a:lnTo>
                  <a:lnTo>
                    <a:pt x="3495" y="413"/>
                  </a:lnTo>
                  <a:lnTo>
                    <a:pt x="3510" y="343"/>
                  </a:lnTo>
                  <a:lnTo>
                    <a:pt x="3524" y="278"/>
                  </a:lnTo>
                  <a:lnTo>
                    <a:pt x="3536" y="220"/>
                  </a:lnTo>
                  <a:lnTo>
                    <a:pt x="3546" y="170"/>
                  </a:lnTo>
                  <a:lnTo>
                    <a:pt x="3555" y="130"/>
                  </a:lnTo>
                  <a:lnTo>
                    <a:pt x="3561" y="100"/>
                  </a:lnTo>
                  <a:lnTo>
                    <a:pt x="3565" y="82"/>
                  </a:lnTo>
                  <a:lnTo>
                    <a:pt x="3567" y="75"/>
                  </a:lnTo>
                  <a:lnTo>
                    <a:pt x="3561" y="74"/>
                  </a:lnTo>
                  <a:lnTo>
                    <a:pt x="3547" y="71"/>
                  </a:lnTo>
                  <a:lnTo>
                    <a:pt x="3522" y="66"/>
                  </a:lnTo>
                  <a:lnTo>
                    <a:pt x="3487" y="61"/>
                  </a:lnTo>
                  <a:lnTo>
                    <a:pt x="3441" y="54"/>
                  </a:lnTo>
                  <a:lnTo>
                    <a:pt x="3385" y="46"/>
                  </a:lnTo>
                  <a:lnTo>
                    <a:pt x="3319" y="38"/>
                  </a:lnTo>
                  <a:lnTo>
                    <a:pt x="3243" y="31"/>
                  </a:lnTo>
                  <a:lnTo>
                    <a:pt x="3155" y="23"/>
                  </a:lnTo>
                  <a:lnTo>
                    <a:pt x="3056" y="17"/>
                  </a:lnTo>
                  <a:lnTo>
                    <a:pt x="2947" y="10"/>
                  </a:lnTo>
                  <a:lnTo>
                    <a:pt x="2827" y="5"/>
                  </a:lnTo>
                  <a:lnTo>
                    <a:pt x="2695" y="2"/>
                  </a:lnTo>
                  <a:lnTo>
                    <a:pt x="2551" y="0"/>
                  </a:lnTo>
                  <a:lnTo>
                    <a:pt x="2476" y="0"/>
                  </a:lnTo>
                  <a:lnTo>
                    <a:pt x="2397" y="0"/>
                  </a:lnTo>
                  <a:lnTo>
                    <a:pt x="2315" y="1"/>
                  </a:lnTo>
                  <a:lnTo>
                    <a:pt x="2231" y="3"/>
                  </a:lnTo>
                  <a:lnTo>
                    <a:pt x="2127" y="7"/>
                  </a:lnTo>
                  <a:lnTo>
                    <a:pt x="2024" y="14"/>
                  </a:lnTo>
                  <a:lnTo>
                    <a:pt x="1923" y="24"/>
                  </a:lnTo>
                  <a:lnTo>
                    <a:pt x="1824" y="36"/>
                  </a:lnTo>
                  <a:lnTo>
                    <a:pt x="1726" y="52"/>
                  </a:lnTo>
                  <a:lnTo>
                    <a:pt x="1631" y="69"/>
                  </a:lnTo>
                  <a:lnTo>
                    <a:pt x="1538" y="90"/>
                  </a:lnTo>
                  <a:lnTo>
                    <a:pt x="1447" y="113"/>
                  </a:lnTo>
                  <a:lnTo>
                    <a:pt x="1358" y="138"/>
                  </a:lnTo>
                  <a:lnTo>
                    <a:pt x="1271" y="165"/>
                  </a:lnTo>
                  <a:lnTo>
                    <a:pt x="1186" y="196"/>
                  </a:lnTo>
                  <a:lnTo>
                    <a:pt x="1103" y="228"/>
                  </a:lnTo>
                  <a:lnTo>
                    <a:pt x="1024" y="262"/>
                  </a:lnTo>
                  <a:lnTo>
                    <a:pt x="945" y="299"/>
                  </a:lnTo>
                  <a:lnTo>
                    <a:pt x="869" y="338"/>
                  </a:lnTo>
                  <a:lnTo>
                    <a:pt x="797" y="378"/>
                  </a:lnTo>
                  <a:lnTo>
                    <a:pt x="727" y="421"/>
                  </a:lnTo>
                  <a:lnTo>
                    <a:pt x="658" y="466"/>
                  </a:lnTo>
                  <a:lnTo>
                    <a:pt x="593" y="511"/>
                  </a:lnTo>
                  <a:lnTo>
                    <a:pt x="530" y="560"/>
                  </a:lnTo>
                  <a:lnTo>
                    <a:pt x="470" y="609"/>
                  </a:lnTo>
                  <a:lnTo>
                    <a:pt x="412" y="661"/>
                  </a:lnTo>
                  <a:lnTo>
                    <a:pt x="358" y="714"/>
                  </a:lnTo>
                  <a:lnTo>
                    <a:pt x="306" y="767"/>
                  </a:lnTo>
                  <a:lnTo>
                    <a:pt x="257" y="824"/>
                  </a:lnTo>
                  <a:lnTo>
                    <a:pt x="211" y="881"/>
                  </a:lnTo>
                  <a:lnTo>
                    <a:pt x="168" y="939"/>
                  </a:lnTo>
                  <a:lnTo>
                    <a:pt x="128" y="999"/>
                  </a:lnTo>
                  <a:lnTo>
                    <a:pt x="91" y="1060"/>
                  </a:lnTo>
                  <a:lnTo>
                    <a:pt x="58" y="1122"/>
                  </a:lnTo>
                  <a:lnTo>
                    <a:pt x="27" y="1185"/>
                  </a:lnTo>
                  <a:lnTo>
                    <a:pt x="0" y="1249"/>
                  </a:lnTo>
                  <a:lnTo>
                    <a:pt x="67" y="1242"/>
                  </a:lnTo>
                  <a:lnTo>
                    <a:pt x="134" y="1236"/>
                  </a:lnTo>
                  <a:lnTo>
                    <a:pt x="201" y="1231"/>
                  </a:lnTo>
                  <a:lnTo>
                    <a:pt x="268" y="1225"/>
                  </a:lnTo>
                  <a:lnTo>
                    <a:pt x="335" y="1219"/>
                  </a:lnTo>
                  <a:lnTo>
                    <a:pt x="403" y="1212"/>
                  </a:lnTo>
                  <a:lnTo>
                    <a:pt x="471" y="1206"/>
                  </a:lnTo>
                  <a:lnTo>
                    <a:pt x="538" y="1201"/>
                  </a:lnTo>
                  <a:lnTo>
                    <a:pt x="605" y="1195"/>
                  </a:lnTo>
                  <a:lnTo>
                    <a:pt x="674" y="1189"/>
                  </a:lnTo>
                  <a:lnTo>
                    <a:pt x="742" y="1182"/>
                  </a:lnTo>
                  <a:lnTo>
                    <a:pt x="810" y="1177"/>
                  </a:lnTo>
                  <a:lnTo>
                    <a:pt x="879" y="1171"/>
                  </a:lnTo>
                  <a:lnTo>
                    <a:pt x="946" y="1166"/>
                  </a:lnTo>
                  <a:lnTo>
                    <a:pt x="1015" y="1160"/>
                  </a:lnTo>
                  <a:lnTo>
                    <a:pt x="1084" y="1155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2CF9552-47FC-4FC1-B727-E5A8C822D0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9322" y="5877328"/>
              <a:ext cx="212120" cy="190061"/>
            </a:xfrm>
            <a:custGeom>
              <a:avLst/>
              <a:gdLst>
                <a:gd name="T0" fmla="*/ 2646 w 2867"/>
                <a:gd name="T1" fmla="*/ 2542 h 2571"/>
                <a:gd name="T2" fmla="*/ 2867 w 2867"/>
                <a:gd name="T3" fmla="*/ 1557 h 2571"/>
                <a:gd name="T4" fmla="*/ 1877 w 2867"/>
                <a:gd name="T5" fmla="*/ 1557 h 2571"/>
                <a:gd name="T6" fmla="*/ 1920 w 2867"/>
                <a:gd name="T7" fmla="*/ 1361 h 2571"/>
                <a:gd name="T8" fmla="*/ 1960 w 2867"/>
                <a:gd name="T9" fmla="*/ 1182 h 2571"/>
                <a:gd name="T10" fmla="*/ 1996 w 2867"/>
                <a:gd name="T11" fmla="*/ 1019 h 2571"/>
                <a:gd name="T12" fmla="*/ 2029 w 2867"/>
                <a:gd name="T13" fmla="*/ 872 h 2571"/>
                <a:gd name="T14" fmla="*/ 2060 w 2867"/>
                <a:gd name="T15" fmla="*/ 739 h 2571"/>
                <a:gd name="T16" fmla="*/ 2087 w 2867"/>
                <a:gd name="T17" fmla="*/ 621 h 2571"/>
                <a:gd name="T18" fmla="*/ 2111 w 2867"/>
                <a:gd name="T19" fmla="*/ 514 h 2571"/>
                <a:gd name="T20" fmla="*/ 2133 w 2867"/>
                <a:gd name="T21" fmla="*/ 420 h 2571"/>
                <a:gd name="T22" fmla="*/ 2152 w 2867"/>
                <a:gd name="T23" fmla="*/ 338 h 2571"/>
                <a:gd name="T24" fmla="*/ 2169 w 2867"/>
                <a:gd name="T25" fmla="*/ 264 h 2571"/>
                <a:gd name="T26" fmla="*/ 2183 w 2867"/>
                <a:gd name="T27" fmla="*/ 201 h 2571"/>
                <a:gd name="T28" fmla="*/ 2196 w 2867"/>
                <a:gd name="T29" fmla="*/ 148 h 2571"/>
                <a:gd name="T30" fmla="*/ 2206 w 2867"/>
                <a:gd name="T31" fmla="*/ 101 h 2571"/>
                <a:gd name="T32" fmla="*/ 2215 w 2867"/>
                <a:gd name="T33" fmla="*/ 62 h 2571"/>
                <a:gd name="T34" fmla="*/ 2222 w 2867"/>
                <a:gd name="T35" fmla="*/ 28 h 2571"/>
                <a:gd name="T36" fmla="*/ 2228 w 2867"/>
                <a:gd name="T37" fmla="*/ 0 h 2571"/>
                <a:gd name="T38" fmla="*/ 512 w 2867"/>
                <a:gd name="T39" fmla="*/ 331 h 2571"/>
                <a:gd name="T40" fmla="*/ 509 w 2867"/>
                <a:gd name="T41" fmla="*/ 343 h 2571"/>
                <a:gd name="T42" fmla="*/ 501 w 2867"/>
                <a:gd name="T43" fmla="*/ 375 h 2571"/>
                <a:gd name="T44" fmla="*/ 490 w 2867"/>
                <a:gd name="T45" fmla="*/ 428 h 2571"/>
                <a:gd name="T46" fmla="*/ 473 w 2867"/>
                <a:gd name="T47" fmla="*/ 501 h 2571"/>
                <a:gd name="T48" fmla="*/ 453 w 2867"/>
                <a:gd name="T49" fmla="*/ 592 h 2571"/>
                <a:gd name="T50" fmla="*/ 428 w 2867"/>
                <a:gd name="T51" fmla="*/ 700 h 2571"/>
                <a:gd name="T52" fmla="*/ 399 w 2867"/>
                <a:gd name="T53" fmla="*/ 826 h 2571"/>
                <a:gd name="T54" fmla="*/ 367 w 2867"/>
                <a:gd name="T55" fmla="*/ 968 h 2571"/>
                <a:gd name="T56" fmla="*/ 331 w 2867"/>
                <a:gd name="T57" fmla="*/ 1125 h 2571"/>
                <a:gd name="T58" fmla="*/ 291 w 2867"/>
                <a:gd name="T59" fmla="*/ 1296 h 2571"/>
                <a:gd name="T60" fmla="*/ 250 w 2867"/>
                <a:gd name="T61" fmla="*/ 1481 h 2571"/>
                <a:gd name="T62" fmla="*/ 204 w 2867"/>
                <a:gd name="T63" fmla="*/ 1677 h 2571"/>
                <a:gd name="T64" fmla="*/ 157 w 2867"/>
                <a:gd name="T65" fmla="*/ 1886 h 2571"/>
                <a:gd name="T66" fmla="*/ 107 w 2867"/>
                <a:gd name="T67" fmla="*/ 2105 h 2571"/>
                <a:gd name="T68" fmla="*/ 54 w 2867"/>
                <a:gd name="T69" fmla="*/ 2334 h 2571"/>
                <a:gd name="T70" fmla="*/ 0 w 2867"/>
                <a:gd name="T71" fmla="*/ 2571 h 2571"/>
                <a:gd name="T72" fmla="*/ 164 w 2867"/>
                <a:gd name="T73" fmla="*/ 2569 h 2571"/>
                <a:gd name="T74" fmla="*/ 328 w 2867"/>
                <a:gd name="T75" fmla="*/ 2566 h 2571"/>
                <a:gd name="T76" fmla="*/ 493 w 2867"/>
                <a:gd name="T77" fmla="*/ 2564 h 2571"/>
                <a:gd name="T78" fmla="*/ 660 w 2867"/>
                <a:gd name="T79" fmla="*/ 2562 h 2571"/>
                <a:gd name="T80" fmla="*/ 826 w 2867"/>
                <a:gd name="T81" fmla="*/ 2560 h 2571"/>
                <a:gd name="T82" fmla="*/ 993 w 2867"/>
                <a:gd name="T83" fmla="*/ 2558 h 2571"/>
                <a:gd name="T84" fmla="*/ 1161 w 2867"/>
                <a:gd name="T85" fmla="*/ 2556 h 2571"/>
                <a:gd name="T86" fmla="*/ 1327 w 2867"/>
                <a:gd name="T87" fmla="*/ 2555 h 2571"/>
                <a:gd name="T88" fmla="*/ 1495 w 2867"/>
                <a:gd name="T89" fmla="*/ 2553 h 2571"/>
                <a:gd name="T90" fmla="*/ 1662 w 2867"/>
                <a:gd name="T91" fmla="*/ 2551 h 2571"/>
                <a:gd name="T92" fmla="*/ 1828 w 2867"/>
                <a:gd name="T93" fmla="*/ 2550 h 2571"/>
                <a:gd name="T94" fmla="*/ 1994 w 2867"/>
                <a:gd name="T95" fmla="*/ 2548 h 2571"/>
                <a:gd name="T96" fmla="*/ 2158 w 2867"/>
                <a:gd name="T97" fmla="*/ 2547 h 2571"/>
                <a:gd name="T98" fmla="*/ 2322 w 2867"/>
                <a:gd name="T99" fmla="*/ 2545 h 2571"/>
                <a:gd name="T100" fmla="*/ 2484 w 2867"/>
                <a:gd name="T101" fmla="*/ 2544 h 2571"/>
                <a:gd name="T102" fmla="*/ 2646 w 2867"/>
                <a:gd name="T103" fmla="*/ 2542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7" h="2571">
                  <a:moveTo>
                    <a:pt x="2646" y="2542"/>
                  </a:moveTo>
                  <a:lnTo>
                    <a:pt x="2867" y="1557"/>
                  </a:lnTo>
                  <a:lnTo>
                    <a:pt x="1877" y="1557"/>
                  </a:lnTo>
                  <a:lnTo>
                    <a:pt x="1920" y="1361"/>
                  </a:lnTo>
                  <a:lnTo>
                    <a:pt x="1960" y="1182"/>
                  </a:lnTo>
                  <a:lnTo>
                    <a:pt x="1996" y="1019"/>
                  </a:lnTo>
                  <a:lnTo>
                    <a:pt x="2029" y="872"/>
                  </a:lnTo>
                  <a:lnTo>
                    <a:pt x="2060" y="739"/>
                  </a:lnTo>
                  <a:lnTo>
                    <a:pt x="2087" y="621"/>
                  </a:lnTo>
                  <a:lnTo>
                    <a:pt x="2111" y="514"/>
                  </a:lnTo>
                  <a:lnTo>
                    <a:pt x="2133" y="420"/>
                  </a:lnTo>
                  <a:lnTo>
                    <a:pt x="2152" y="338"/>
                  </a:lnTo>
                  <a:lnTo>
                    <a:pt x="2169" y="264"/>
                  </a:lnTo>
                  <a:lnTo>
                    <a:pt x="2183" y="201"/>
                  </a:lnTo>
                  <a:lnTo>
                    <a:pt x="2196" y="148"/>
                  </a:lnTo>
                  <a:lnTo>
                    <a:pt x="2206" y="101"/>
                  </a:lnTo>
                  <a:lnTo>
                    <a:pt x="2215" y="62"/>
                  </a:lnTo>
                  <a:lnTo>
                    <a:pt x="2222" y="28"/>
                  </a:lnTo>
                  <a:lnTo>
                    <a:pt x="2228" y="0"/>
                  </a:lnTo>
                  <a:lnTo>
                    <a:pt x="512" y="331"/>
                  </a:lnTo>
                  <a:lnTo>
                    <a:pt x="509" y="343"/>
                  </a:lnTo>
                  <a:lnTo>
                    <a:pt x="501" y="375"/>
                  </a:lnTo>
                  <a:lnTo>
                    <a:pt x="490" y="428"/>
                  </a:lnTo>
                  <a:lnTo>
                    <a:pt x="473" y="501"/>
                  </a:lnTo>
                  <a:lnTo>
                    <a:pt x="453" y="592"/>
                  </a:lnTo>
                  <a:lnTo>
                    <a:pt x="428" y="700"/>
                  </a:lnTo>
                  <a:lnTo>
                    <a:pt x="399" y="826"/>
                  </a:lnTo>
                  <a:lnTo>
                    <a:pt x="367" y="968"/>
                  </a:lnTo>
                  <a:lnTo>
                    <a:pt x="331" y="1125"/>
                  </a:lnTo>
                  <a:lnTo>
                    <a:pt x="291" y="1296"/>
                  </a:lnTo>
                  <a:lnTo>
                    <a:pt x="250" y="1481"/>
                  </a:lnTo>
                  <a:lnTo>
                    <a:pt x="204" y="1677"/>
                  </a:lnTo>
                  <a:lnTo>
                    <a:pt x="157" y="1886"/>
                  </a:lnTo>
                  <a:lnTo>
                    <a:pt x="107" y="2105"/>
                  </a:lnTo>
                  <a:lnTo>
                    <a:pt x="54" y="2334"/>
                  </a:lnTo>
                  <a:lnTo>
                    <a:pt x="0" y="2571"/>
                  </a:lnTo>
                  <a:lnTo>
                    <a:pt x="164" y="2569"/>
                  </a:lnTo>
                  <a:lnTo>
                    <a:pt x="328" y="2566"/>
                  </a:lnTo>
                  <a:lnTo>
                    <a:pt x="493" y="2564"/>
                  </a:lnTo>
                  <a:lnTo>
                    <a:pt x="660" y="2562"/>
                  </a:lnTo>
                  <a:lnTo>
                    <a:pt x="826" y="2560"/>
                  </a:lnTo>
                  <a:lnTo>
                    <a:pt x="993" y="2558"/>
                  </a:lnTo>
                  <a:lnTo>
                    <a:pt x="1161" y="2556"/>
                  </a:lnTo>
                  <a:lnTo>
                    <a:pt x="1327" y="2555"/>
                  </a:lnTo>
                  <a:lnTo>
                    <a:pt x="1495" y="2553"/>
                  </a:lnTo>
                  <a:lnTo>
                    <a:pt x="1662" y="2551"/>
                  </a:lnTo>
                  <a:lnTo>
                    <a:pt x="1828" y="2550"/>
                  </a:lnTo>
                  <a:lnTo>
                    <a:pt x="1994" y="2548"/>
                  </a:lnTo>
                  <a:lnTo>
                    <a:pt x="2158" y="2547"/>
                  </a:lnTo>
                  <a:lnTo>
                    <a:pt x="2322" y="2545"/>
                  </a:lnTo>
                  <a:lnTo>
                    <a:pt x="2484" y="2544"/>
                  </a:lnTo>
                  <a:lnTo>
                    <a:pt x="2646" y="2542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97EA7B9D-762A-48D1-8356-0F87FA3AB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265" y="6159025"/>
              <a:ext cx="167999" cy="217212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BF819BEE-2DC8-42F3-A220-9DCCECD29F1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49564" y="5991025"/>
              <a:ext cx="375028" cy="390303"/>
            </a:xfrm>
            <a:custGeom>
              <a:avLst/>
              <a:gdLst>
                <a:gd name="T0" fmla="*/ 4466 w 5066"/>
                <a:gd name="T1" fmla="*/ 34 h 5294"/>
                <a:gd name="T2" fmla="*/ 3678 w 5066"/>
                <a:gd name="T3" fmla="*/ 3 h 5294"/>
                <a:gd name="T4" fmla="*/ 2963 w 5066"/>
                <a:gd name="T5" fmla="*/ 8 h 5294"/>
                <a:gd name="T6" fmla="*/ 2456 w 5066"/>
                <a:gd name="T7" fmla="*/ 64 h 5294"/>
                <a:gd name="T8" fmla="*/ 1996 w 5066"/>
                <a:gd name="T9" fmla="*/ 183 h 5294"/>
                <a:gd name="T10" fmla="*/ 1582 w 5066"/>
                <a:gd name="T11" fmla="*/ 368 h 5294"/>
                <a:gd name="T12" fmla="*/ 1216 w 5066"/>
                <a:gd name="T13" fmla="*/ 622 h 5294"/>
                <a:gd name="T14" fmla="*/ 895 w 5066"/>
                <a:gd name="T15" fmla="*/ 947 h 5294"/>
                <a:gd name="T16" fmla="*/ 2051 w 5066"/>
                <a:gd name="T17" fmla="*/ 1001 h 5294"/>
                <a:gd name="T18" fmla="*/ 3037 w 5066"/>
                <a:gd name="T19" fmla="*/ 998 h 5294"/>
                <a:gd name="T20" fmla="*/ 3293 w 5066"/>
                <a:gd name="T21" fmla="*/ 1144 h 5294"/>
                <a:gd name="T22" fmla="*/ 3058 w 5066"/>
                <a:gd name="T23" fmla="*/ 2155 h 5294"/>
                <a:gd name="T24" fmla="*/ 2848 w 5066"/>
                <a:gd name="T25" fmla="*/ 3110 h 5294"/>
                <a:gd name="T26" fmla="*/ 2785 w 5066"/>
                <a:gd name="T27" fmla="*/ 3421 h 5294"/>
                <a:gd name="T28" fmla="*/ 2624 w 5066"/>
                <a:gd name="T29" fmla="*/ 3638 h 5294"/>
                <a:gd name="T30" fmla="*/ 2496 w 5066"/>
                <a:gd name="T31" fmla="*/ 3760 h 5294"/>
                <a:gd name="T32" fmla="*/ 2340 w 5066"/>
                <a:gd name="T33" fmla="*/ 3861 h 5294"/>
                <a:gd name="T34" fmla="*/ 2151 w 5066"/>
                <a:gd name="T35" fmla="*/ 3924 h 5294"/>
                <a:gd name="T36" fmla="*/ 1941 w 5066"/>
                <a:gd name="T37" fmla="*/ 3933 h 5294"/>
                <a:gd name="T38" fmla="*/ 1787 w 5066"/>
                <a:gd name="T39" fmla="*/ 3881 h 5294"/>
                <a:gd name="T40" fmla="*/ 1688 w 5066"/>
                <a:gd name="T41" fmla="*/ 3781 h 5294"/>
                <a:gd name="T42" fmla="*/ 1631 w 5066"/>
                <a:gd name="T43" fmla="*/ 3646 h 5294"/>
                <a:gd name="T44" fmla="*/ 1606 w 5066"/>
                <a:gd name="T45" fmla="*/ 3488 h 5294"/>
                <a:gd name="T46" fmla="*/ 1611 w 5066"/>
                <a:gd name="T47" fmla="*/ 3188 h 5294"/>
                <a:gd name="T48" fmla="*/ 1659 w 5066"/>
                <a:gd name="T49" fmla="*/ 2763 h 5294"/>
                <a:gd name="T50" fmla="*/ 1748 w 5066"/>
                <a:gd name="T51" fmla="*/ 2329 h 5294"/>
                <a:gd name="T52" fmla="*/ 1879 w 5066"/>
                <a:gd name="T53" fmla="*/ 1919 h 5294"/>
                <a:gd name="T54" fmla="*/ 2053 w 5066"/>
                <a:gd name="T55" fmla="*/ 1564 h 5294"/>
                <a:gd name="T56" fmla="*/ 2272 w 5066"/>
                <a:gd name="T57" fmla="*/ 1295 h 5294"/>
                <a:gd name="T58" fmla="*/ 1725 w 5066"/>
                <a:gd name="T59" fmla="*/ 1309 h 5294"/>
                <a:gd name="T60" fmla="*/ 1087 w 5066"/>
                <a:gd name="T61" fmla="*/ 1326 h 5294"/>
                <a:gd name="T62" fmla="*/ 556 w 5066"/>
                <a:gd name="T63" fmla="*/ 1456 h 5294"/>
                <a:gd name="T64" fmla="*/ 378 w 5066"/>
                <a:gd name="T65" fmla="*/ 1828 h 5294"/>
                <a:gd name="T66" fmla="*/ 230 w 5066"/>
                <a:gd name="T67" fmla="*/ 2231 h 5294"/>
                <a:gd name="T68" fmla="*/ 117 w 5066"/>
                <a:gd name="T69" fmla="*/ 2662 h 5294"/>
                <a:gd name="T70" fmla="*/ 39 w 5066"/>
                <a:gd name="T71" fmla="*/ 3114 h 5294"/>
                <a:gd name="T72" fmla="*/ 1 w 5066"/>
                <a:gd name="T73" fmla="*/ 3582 h 5294"/>
                <a:gd name="T74" fmla="*/ 25 w 5066"/>
                <a:gd name="T75" fmla="*/ 4022 h 5294"/>
                <a:gd name="T76" fmla="*/ 135 w 5066"/>
                <a:gd name="T77" fmla="*/ 4458 h 5294"/>
                <a:gd name="T78" fmla="*/ 338 w 5066"/>
                <a:gd name="T79" fmla="*/ 4843 h 5294"/>
                <a:gd name="T80" fmla="*/ 640 w 5066"/>
                <a:gd name="T81" fmla="*/ 5133 h 5294"/>
                <a:gd name="T82" fmla="*/ 1051 w 5066"/>
                <a:gd name="T83" fmla="*/ 5283 h 5294"/>
                <a:gd name="T84" fmla="*/ 1436 w 5066"/>
                <a:gd name="T85" fmla="*/ 5280 h 5294"/>
                <a:gd name="T86" fmla="*/ 1750 w 5066"/>
                <a:gd name="T87" fmla="*/ 5205 h 5294"/>
                <a:gd name="T88" fmla="*/ 2040 w 5066"/>
                <a:gd name="T89" fmla="*/ 5075 h 5294"/>
                <a:gd name="T90" fmla="*/ 2302 w 5066"/>
                <a:gd name="T91" fmla="*/ 4898 h 5294"/>
                <a:gd name="T92" fmla="*/ 2538 w 5066"/>
                <a:gd name="T93" fmla="*/ 4679 h 5294"/>
                <a:gd name="T94" fmla="*/ 2681 w 5066"/>
                <a:gd name="T95" fmla="*/ 4637 h 5294"/>
                <a:gd name="T96" fmla="*/ 2700 w 5066"/>
                <a:gd name="T97" fmla="*/ 5021 h 5294"/>
                <a:gd name="T98" fmla="*/ 2721 w 5066"/>
                <a:gd name="T99" fmla="*/ 5272 h 5294"/>
                <a:gd name="T100" fmla="*/ 4090 w 5066"/>
                <a:gd name="T101" fmla="*/ 4975 h 5294"/>
                <a:gd name="T102" fmla="*/ 4105 w 5066"/>
                <a:gd name="T103" fmla="*/ 4576 h 5294"/>
                <a:gd name="T104" fmla="*/ 4161 w 5066"/>
                <a:gd name="T105" fmla="*/ 4121 h 5294"/>
                <a:gd name="T106" fmla="*/ 4502 w 5066"/>
                <a:gd name="T107" fmla="*/ 2560 h 5294"/>
                <a:gd name="T108" fmla="*/ 4914 w 5066"/>
                <a:gd name="T109" fmla="*/ 744 h 5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66" h="5294">
                  <a:moveTo>
                    <a:pt x="5066" y="81"/>
                  </a:moveTo>
                  <a:lnTo>
                    <a:pt x="4954" y="71"/>
                  </a:lnTo>
                  <a:lnTo>
                    <a:pt x="4837" y="61"/>
                  </a:lnTo>
                  <a:lnTo>
                    <a:pt x="4717" y="52"/>
                  </a:lnTo>
                  <a:lnTo>
                    <a:pt x="4593" y="43"/>
                  </a:lnTo>
                  <a:lnTo>
                    <a:pt x="4466" y="34"/>
                  </a:lnTo>
                  <a:lnTo>
                    <a:pt x="4337" y="27"/>
                  </a:lnTo>
                  <a:lnTo>
                    <a:pt x="4206" y="21"/>
                  </a:lnTo>
                  <a:lnTo>
                    <a:pt x="4074" y="15"/>
                  </a:lnTo>
                  <a:lnTo>
                    <a:pt x="3942" y="10"/>
                  </a:lnTo>
                  <a:lnTo>
                    <a:pt x="3809" y="5"/>
                  </a:lnTo>
                  <a:lnTo>
                    <a:pt x="3678" y="3"/>
                  </a:lnTo>
                  <a:lnTo>
                    <a:pt x="3548" y="1"/>
                  </a:lnTo>
                  <a:lnTo>
                    <a:pt x="3419" y="0"/>
                  </a:lnTo>
                  <a:lnTo>
                    <a:pt x="3294" y="0"/>
                  </a:lnTo>
                  <a:lnTo>
                    <a:pt x="3171" y="1"/>
                  </a:lnTo>
                  <a:lnTo>
                    <a:pt x="3052" y="4"/>
                  </a:lnTo>
                  <a:lnTo>
                    <a:pt x="2963" y="8"/>
                  </a:lnTo>
                  <a:lnTo>
                    <a:pt x="2876" y="13"/>
                  </a:lnTo>
                  <a:lnTo>
                    <a:pt x="2789" y="20"/>
                  </a:lnTo>
                  <a:lnTo>
                    <a:pt x="2704" y="28"/>
                  </a:lnTo>
                  <a:lnTo>
                    <a:pt x="2620" y="39"/>
                  </a:lnTo>
                  <a:lnTo>
                    <a:pt x="2537" y="51"/>
                  </a:lnTo>
                  <a:lnTo>
                    <a:pt x="2456" y="64"/>
                  </a:lnTo>
                  <a:lnTo>
                    <a:pt x="2376" y="80"/>
                  </a:lnTo>
                  <a:lnTo>
                    <a:pt x="2297" y="96"/>
                  </a:lnTo>
                  <a:lnTo>
                    <a:pt x="2220" y="116"/>
                  </a:lnTo>
                  <a:lnTo>
                    <a:pt x="2144" y="137"/>
                  </a:lnTo>
                  <a:lnTo>
                    <a:pt x="2070" y="159"/>
                  </a:lnTo>
                  <a:lnTo>
                    <a:pt x="1996" y="183"/>
                  </a:lnTo>
                  <a:lnTo>
                    <a:pt x="1924" y="209"/>
                  </a:lnTo>
                  <a:lnTo>
                    <a:pt x="1853" y="238"/>
                  </a:lnTo>
                  <a:lnTo>
                    <a:pt x="1783" y="267"/>
                  </a:lnTo>
                  <a:lnTo>
                    <a:pt x="1715" y="299"/>
                  </a:lnTo>
                  <a:lnTo>
                    <a:pt x="1648" y="333"/>
                  </a:lnTo>
                  <a:lnTo>
                    <a:pt x="1582" y="368"/>
                  </a:lnTo>
                  <a:lnTo>
                    <a:pt x="1518" y="405"/>
                  </a:lnTo>
                  <a:lnTo>
                    <a:pt x="1455" y="444"/>
                  </a:lnTo>
                  <a:lnTo>
                    <a:pt x="1393" y="486"/>
                  </a:lnTo>
                  <a:lnTo>
                    <a:pt x="1333" y="529"/>
                  </a:lnTo>
                  <a:lnTo>
                    <a:pt x="1274" y="575"/>
                  </a:lnTo>
                  <a:lnTo>
                    <a:pt x="1216" y="622"/>
                  </a:lnTo>
                  <a:lnTo>
                    <a:pt x="1159" y="671"/>
                  </a:lnTo>
                  <a:lnTo>
                    <a:pt x="1103" y="722"/>
                  </a:lnTo>
                  <a:lnTo>
                    <a:pt x="1049" y="775"/>
                  </a:lnTo>
                  <a:lnTo>
                    <a:pt x="996" y="831"/>
                  </a:lnTo>
                  <a:lnTo>
                    <a:pt x="945" y="887"/>
                  </a:lnTo>
                  <a:lnTo>
                    <a:pt x="895" y="947"/>
                  </a:lnTo>
                  <a:lnTo>
                    <a:pt x="845" y="1008"/>
                  </a:lnTo>
                  <a:lnTo>
                    <a:pt x="1107" y="1006"/>
                  </a:lnTo>
                  <a:lnTo>
                    <a:pt x="1360" y="1005"/>
                  </a:lnTo>
                  <a:lnTo>
                    <a:pt x="1602" y="1004"/>
                  </a:lnTo>
                  <a:lnTo>
                    <a:pt x="1833" y="1003"/>
                  </a:lnTo>
                  <a:lnTo>
                    <a:pt x="2051" y="1001"/>
                  </a:lnTo>
                  <a:lnTo>
                    <a:pt x="2255" y="1001"/>
                  </a:lnTo>
                  <a:lnTo>
                    <a:pt x="2445" y="1000"/>
                  </a:lnTo>
                  <a:lnTo>
                    <a:pt x="2619" y="999"/>
                  </a:lnTo>
                  <a:lnTo>
                    <a:pt x="2776" y="999"/>
                  </a:lnTo>
                  <a:lnTo>
                    <a:pt x="2916" y="998"/>
                  </a:lnTo>
                  <a:lnTo>
                    <a:pt x="3037" y="998"/>
                  </a:lnTo>
                  <a:lnTo>
                    <a:pt x="3139" y="997"/>
                  </a:lnTo>
                  <a:lnTo>
                    <a:pt x="3219" y="997"/>
                  </a:lnTo>
                  <a:lnTo>
                    <a:pt x="3278" y="997"/>
                  </a:lnTo>
                  <a:lnTo>
                    <a:pt x="3315" y="997"/>
                  </a:lnTo>
                  <a:lnTo>
                    <a:pt x="3327" y="997"/>
                  </a:lnTo>
                  <a:lnTo>
                    <a:pt x="3293" y="1144"/>
                  </a:lnTo>
                  <a:lnTo>
                    <a:pt x="3294" y="1144"/>
                  </a:lnTo>
                  <a:lnTo>
                    <a:pt x="3295" y="1145"/>
                  </a:lnTo>
                  <a:lnTo>
                    <a:pt x="3229" y="1425"/>
                  </a:lnTo>
                  <a:lnTo>
                    <a:pt x="3167" y="1688"/>
                  </a:lnTo>
                  <a:lnTo>
                    <a:pt x="3110" y="1930"/>
                  </a:lnTo>
                  <a:lnTo>
                    <a:pt x="3058" y="2155"/>
                  </a:lnTo>
                  <a:lnTo>
                    <a:pt x="3011" y="2360"/>
                  </a:lnTo>
                  <a:lnTo>
                    <a:pt x="2970" y="2546"/>
                  </a:lnTo>
                  <a:lnTo>
                    <a:pt x="2933" y="2714"/>
                  </a:lnTo>
                  <a:lnTo>
                    <a:pt x="2900" y="2864"/>
                  </a:lnTo>
                  <a:lnTo>
                    <a:pt x="2872" y="2996"/>
                  </a:lnTo>
                  <a:lnTo>
                    <a:pt x="2848" y="3110"/>
                  </a:lnTo>
                  <a:lnTo>
                    <a:pt x="2827" y="3205"/>
                  </a:lnTo>
                  <a:lnTo>
                    <a:pt x="2812" y="3283"/>
                  </a:lnTo>
                  <a:lnTo>
                    <a:pt x="2799" y="3343"/>
                  </a:lnTo>
                  <a:lnTo>
                    <a:pt x="2791" y="3387"/>
                  </a:lnTo>
                  <a:lnTo>
                    <a:pt x="2786" y="3412"/>
                  </a:lnTo>
                  <a:lnTo>
                    <a:pt x="2785" y="3421"/>
                  </a:lnTo>
                  <a:lnTo>
                    <a:pt x="2757" y="3462"/>
                  </a:lnTo>
                  <a:lnTo>
                    <a:pt x="2727" y="3505"/>
                  </a:lnTo>
                  <a:lnTo>
                    <a:pt x="2696" y="3550"/>
                  </a:lnTo>
                  <a:lnTo>
                    <a:pt x="2661" y="3594"/>
                  </a:lnTo>
                  <a:lnTo>
                    <a:pt x="2643" y="3616"/>
                  </a:lnTo>
                  <a:lnTo>
                    <a:pt x="2624" y="3638"/>
                  </a:lnTo>
                  <a:lnTo>
                    <a:pt x="2605" y="3659"/>
                  </a:lnTo>
                  <a:lnTo>
                    <a:pt x="2584" y="3680"/>
                  </a:lnTo>
                  <a:lnTo>
                    <a:pt x="2563" y="3701"/>
                  </a:lnTo>
                  <a:lnTo>
                    <a:pt x="2542" y="3721"/>
                  </a:lnTo>
                  <a:lnTo>
                    <a:pt x="2520" y="3742"/>
                  </a:lnTo>
                  <a:lnTo>
                    <a:pt x="2496" y="3760"/>
                  </a:lnTo>
                  <a:lnTo>
                    <a:pt x="2472" y="3779"/>
                  </a:lnTo>
                  <a:lnTo>
                    <a:pt x="2447" y="3798"/>
                  </a:lnTo>
                  <a:lnTo>
                    <a:pt x="2421" y="3815"/>
                  </a:lnTo>
                  <a:lnTo>
                    <a:pt x="2396" y="3831"/>
                  </a:lnTo>
                  <a:lnTo>
                    <a:pt x="2369" y="3846"/>
                  </a:lnTo>
                  <a:lnTo>
                    <a:pt x="2340" y="3861"/>
                  </a:lnTo>
                  <a:lnTo>
                    <a:pt x="2311" y="3874"/>
                  </a:lnTo>
                  <a:lnTo>
                    <a:pt x="2281" y="3886"/>
                  </a:lnTo>
                  <a:lnTo>
                    <a:pt x="2251" y="3898"/>
                  </a:lnTo>
                  <a:lnTo>
                    <a:pt x="2219" y="3908"/>
                  </a:lnTo>
                  <a:lnTo>
                    <a:pt x="2185" y="3916"/>
                  </a:lnTo>
                  <a:lnTo>
                    <a:pt x="2151" y="3924"/>
                  </a:lnTo>
                  <a:lnTo>
                    <a:pt x="2117" y="3929"/>
                  </a:lnTo>
                  <a:lnTo>
                    <a:pt x="2081" y="3933"/>
                  </a:lnTo>
                  <a:lnTo>
                    <a:pt x="2045" y="3936"/>
                  </a:lnTo>
                  <a:lnTo>
                    <a:pt x="2006" y="3936"/>
                  </a:lnTo>
                  <a:lnTo>
                    <a:pt x="1973" y="3936"/>
                  </a:lnTo>
                  <a:lnTo>
                    <a:pt x="1941" y="3933"/>
                  </a:lnTo>
                  <a:lnTo>
                    <a:pt x="1911" y="3929"/>
                  </a:lnTo>
                  <a:lnTo>
                    <a:pt x="1883" y="3923"/>
                  </a:lnTo>
                  <a:lnTo>
                    <a:pt x="1857" y="3914"/>
                  </a:lnTo>
                  <a:lnTo>
                    <a:pt x="1833" y="3905"/>
                  </a:lnTo>
                  <a:lnTo>
                    <a:pt x="1809" y="3894"/>
                  </a:lnTo>
                  <a:lnTo>
                    <a:pt x="1787" y="3881"/>
                  </a:lnTo>
                  <a:lnTo>
                    <a:pt x="1767" y="3868"/>
                  </a:lnTo>
                  <a:lnTo>
                    <a:pt x="1749" y="3853"/>
                  </a:lnTo>
                  <a:lnTo>
                    <a:pt x="1731" y="3837"/>
                  </a:lnTo>
                  <a:lnTo>
                    <a:pt x="1716" y="3819"/>
                  </a:lnTo>
                  <a:lnTo>
                    <a:pt x="1701" y="3801"/>
                  </a:lnTo>
                  <a:lnTo>
                    <a:pt x="1688" y="3781"/>
                  </a:lnTo>
                  <a:lnTo>
                    <a:pt x="1675" y="3760"/>
                  </a:lnTo>
                  <a:lnTo>
                    <a:pt x="1664" y="3740"/>
                  </a:lnTo>
                  <a:lnTo>
                    <a:pt x="1653" y="3717"/>
                  </a:lnTo>
                  <a:lnTo>
                    <a:pt x="1645" y="3694"/>
                  </a:lnTo>
                  <a:lnTo>
                    <a:pt x="1637" y="3670"/>
                  </a:lnTo>
                  <a:lnTo>
                    <a:pt x="1631" y="3646"/>
                  </a:lnTo>
                  <a:lnTo>
                    <a:pt x="1625" y="3620"/>
                  </a:lnTo>
                  <a:lnTo>
                    <a:pt x="1619" y="3595"/>
                  </a:lnTo>
                  <a:lnTo>
                    <a:pt x="1615" y="3568"/>
                  </a:lnTo>
                  <a:lnTo>
                    <a:pt x="1611" y="3543"/>
                  </a:lnTo>
                  <a:lnTo>
                    <a:pt x="1608" y="3516"/>
                  </a:lnTo>
                  <a:lnTo>
                    <a:pt x="1606" y="3488"/>
                  </a:lnTo>
                  <a:lnTo>
                    <a:pt x="1605" y="3461"/>
                  </a:lnTo>
                  <a:lnTo>
                    <a:pt x="1604" y="3433"/>
                  </a:lnTo>
                  <a:lnTo>
                    <a:pt x="1603" y="3378"/>
                  </a:lnTo>
                  <a:lnTo>
                    <a:pt x="1604" y="3324"/>
                  </a:lnTo>
                  <a:lnTo>
                    <a:pt x="1607" y="3257"/>
                  </a:lnTo>
                  <a:lnTo>
                    <a:pt x="1611" y="3188"/>
                  </a:lnTo>
                  <a:lnTo>
                    <a:pt x="1616" y="3120"/>
                  </a:lnTo>
                  <a:lnTo>
                    <a:pt x="1622" y="3050"/>
                  </a:lnTo>
                  <a:lnTo>
                    <a:pt x="1630" y="2979"/>
                  </a:lnTo>
                  <a:lnTo>
                    <a:pt x="1638" y="2907"/>
                  </a:lnTo>
                  <a:lnTo>
                    <a:pt x="1647" y="2835"/>
                  </a:lnTo>
                  <a:lnTo>
                    <a:pt x="1659" y="2763"/>
                  </a:lnTo>
                  <a:lnTo>
                    <a:pt x="1670" y="2691"/>
                  </a:lnTo>
                  <a:lnTo>
                    <a:pt x="1684" y="2618"/>
                  </a:lnTo>
                  <a:lnTo>
                    <a:pt x="1698" y="2545"/>
                  </a:lnTo>
                  <a:lnTo>
                    <a:pt x="1714" y="2473"/>
                  </a:lnTo>
                  <a:lnTo>
                    <a:pt x="1730" y="2400"/>
                  </a:lnTo>
                  <a:lnTo>
                    <a:pt x="1748" y="2329"/>
                  </a:lnTo>
                  <a:lnTo>
                    <a:pt x="1766" y="2259"/>
                  </a:lnTo>
                  <a:lnTo>
                    <a:pt x="1786" y="2189"/>
                  </a:lnTo>
                  <a:lnTo>
                    <a:pt x="1808" y="2119"/>
                  </a:lnTo>
                  <a:lnTo>
                    <a:pt x="1830" y="2051"/>
                  </a:lnTo>
                  <a:lnTo>
                    <a:pt x="1854" y="1984"/>
                  </a:lnTo>
                  <a:lnTo>
                    <a:pt x="1879" y="1919"/>
                  </a:lnTo>
                  <a:lnTo>
                    <a:pt x="1905" y="1855"/>
                  </a:lnTo>
                  <a:lnTo>
                    <a:pt x="1932" y="1793"/>
                  </a:lnTo>
                  <a:lnTo>
                    <a:pt x="1961" y="1732"/>
                  </a:lnTo>
                  <a:lnTo>
                    <a:pt x="1990" y="1674"/>
                  </a:lnTo>
                  <a:lnTo>
                    <a:pt x="2021" y="1618"/>
                  </a:lnTo>
                  <a:lnTo>
                    <a:pt x="2053" y="1564"/>
                  </a:lnTo>
                  <a:lnTo>
                    <a:pt x="2086" y="1512"/>
                  </a:lnTo>
                  <a:lnTo>
                    <a:pt x="2121" y="1464"/>
                  </a:lnTo>
                  <a:lnTo>
                    <a:pt x="2158" y="1417"/>
                  </a:lnTo>
                  <a:lnTo>
                    <a:pt x="2194" y="1374"/>
                  </a:lnTo>
                  <a:lnTo>
                    <a:pt x="2232" y="1334"/>
                  </a:lnTo>
                  <a:lnTo>
                    <a:pt x="2272" y="1295"/>
                  </a:lnTo>
                  <a:lnTo>
                    <a:pt x="2188" y="1297"/>
                  </a:lnTo>
                  <a:lnTo>
                    <a:pt x="2101" y="1299"/>
                  </a:lnTo>
                  <a:lnTo>
                    <a:pt x="2011" y="1302"/>
                  </a:lnTo>
                  <a:lnTo>
                    <a:pt x="1917" y="1304"/>
                  </a:lnTo>
                  <a:lnTo>
                    <a:pt x="1822" y="1307"/>
                  </a:lnTo>
                  <a:lnTo>
                    <a:pt x="1725" y="1309"/>
                  </a:lnTo>
                  <a:lnTo>
                    <a:pt x="1625" y="1311"/>
                  </a:lnTo>
                  <a:lnTo>
                    <a:pt x="1521" y="1314"/>
                  </a:lnTo>
                  <a:lnTo>
                    <a:pt x="1416" y="1317"/>
                  </a:lnTo>
                  <a:lnTo>
                    <a:pt x="1309" y="1320"/>
                  </a:lnTo>
                  <a:lnTo>
                    <a:pt x="1199" y="1323"/>
                  </a:lnTo>
                  <a:lnTo>
                    <a:pt x="1087" y="1326"/>
                  </a:lnTo>
                  <a:lnTo>
                    <a:pt x="975" y="1330"/>
                  </a:lnTo>
                  <a:lnTo>
                    <a:pt x="859" y="1334"/>
                  </a:lnTo>
                  <a:lnTo>
                    <a:pt x="741" y="1338"/>
                  </a:lnTo>
                  <a:lnTo>
                    <a:pt x="622" y="1342"/>
                  </a:lnTo>
                  <a:lnTo>
                    <a:pt x="588" y="1399"/>
                  </a:lnTo>
                  <a:lnTo>
                    <a:pt x="556" y="1456"/>
                  </a:lnTo>
                  <a:lnTo>
                    <a:pt x="524" y="1516"/>
                  </a:lnTo>
                  <a:lnTo>
                    <a:pt x="494" y="1576"/>
                  </a:lnTo>
                  <a:lnTo>
                    <a:pt x="463" y="1638"/>
                  </a:lnTo>
                  <a:lnTo>
                    <a:pt x="434" y="1700"/>
                  </a:lnTo>
                  <a:lnTo>
                    <a:pt x="406" y="1763"/>
                  </a:lnTo>
                  <a:lnTo>
                    <a:pt x="378" y="1828"/>
                  </a:lnTo>
                  <a:lnTo>
                    <a:pt x="351" y="1893"/>
                  </a:lnTo>
                  <a:lnTo>
                    <a:pt x="326" y="1958"/>
                  </a:lnTo>
                  <a:lnTo>
                    <a:pt x="301" y="2026"/>
                  </a:lnTo>
                  <a:lnTo>
                    <a:pt x="276" y="2094"/>
                  </a:lnTo>
                  <a:lnTo>
                    <a:pt x="253" y="2162"/>
                  </a:lnTo>
                  <a:lnTo>
                    <a:pt x="230" y="2231"/>
                  </a:lnTo>
                  <a:lnTo>
                    <a:pt x="210" y="2301"/>
                  </a:lnTo>
                  <a:lnTo>
                    <a:pt x="189" y="2371"/>
                  </a:lnTo>
                  <a:lnTo>
                    <a:pt x="169" y="2444"/>
                  </a:lnTo>
                  <a:lnTo>
                    <a:pt x="151" y="2515"/>
                  </a:lnTo>
                  <a:lnTo>
                    <a:pt x="133" y="2588"/>
                  </a:lnTo>
                  <a:lnTo>
                    <a:pt x="117" y="2662"/>
                  </a:lnTo>
                  <a:lnTo>
                    <a:pt x="101" y="2736"/>
                  </a:lnTo>
                  <a:lnTo>
                    <a:pt x="86" y="2810"/>
                  </a:lnTo>
                  <a:lnTo>
                    <a:pt x="73" y="2885"/>
                  </a:lnTo>
                  <a:lnTo>
                    <a:pt x="61" y="2961"/>
                  </a:lnTo>
                  <a:lnTo>
                    <a:pt x="49" y="3037"/>
                  </a:lnTo>
                  <a:lnTo>
                    <a:pt x="39" y="3114"/>
                  </a:lnTo>
                  <a:lnTo>
                    <a:pt x="30" y="3190"/>
                  </a:lnTo>
                  <a:lnTo>
                    <a:pt x="21" y="3268"/>
                  </a:lnTo>
                  <a:lnTo>
                    <a:pt x="14" y="3345"/>
                  </a:lnTo>
                  <a:lnTo>
                    <a:pt x="9" y="3424"/>
                  </a:lnTo>
                  <a:lnTo>
                    <a:pt x="4" y="3502"/>
                  </a:lnTo>
                  <a:lnTo>
                    <a:pt x="1" y="3582"/>
                  </a:lnTo>
                  <a:lnTo>
                    <a:pt x="0" y="3653"/>
                  </a:lnTo>
                  <a:lnTo>
                    <a:pt x="0" y="3726"/>
                  </a:lnTo>
                  <a:lnTo>
                    <a:pt x="3" y="3800"/>
                  </a:lnTo>
                  <a:lnTo>
                    <a:pt x="8" y="3873"/>
                  </a:lnTo>
                  <a:lnTo>
                    <a:pt x="16" y="3947"/>
                  </a:lnTo>
                  <a:lnTo>
                    <a:pt x="25" y="4022"/>
                  </a:lnTo>
                  <a:lnTo>
                    <a:pt x="38" y="4096"/>
                  </a:lnTo>
                  <a:lnTo>
                    <a:pt x="52" y="4170"/>
                  </a:lnTo>
                  <a:lnTo>
                    <a:pt x="70" y="4244"/>
                  </a:lnTo>
                  <a:lnTo>
                    <a:pt x="89" y="4316"/>
                  </a:lnTo>
                  <a:lnTo>
                    <a:pt x="111" y="4387"/>
                  </a:lnTo>
                  <a:lnTo>
                    <a:pt x="135" y="4458"/>
                  </a:lnTo>
                  <a:lnTo>
                    <a:pt x="163" y="4527"/>
                  </a:lnTo>
                  <a:lnTo>
                    <a:pt x="192" y="4594"/>
                  </a:lnTo>
                  <a:lnTo>
                    <a:pt x="225" y="4660"/>
                  </a:lnTo>
                  <a:lnTo>
                    <a:pt x="259" y="4723"/>
                  </a:lnTo>
                  <a:lnTo>
                    <a:pt x="298" y="4784"/>
                  </a:lnTo>
                  <a:lnTo>
                    <a:pt x="338" y="4843"/>
                  </a:lnTo>
                  <a:lnTo>
                    <a:pt x="381" y="4900"/>
                  </a:lnTo>
                  <a:lnTo>
                    <a:pt x="427" y="4953"/>
                  </a:lnTo>
                  <a:lnTo>
                    <a:pt x="477" y="5003"/>
                  </a:lnTo>
                  <a:lnTo>
                    <a:pt x="528" y="5050"/>
                  </a:lnTo>
                  <a:lnTo>
                    <a:pt x="582" y="5094"/>
                  </a:lnTo>
                  <a:lnTo>
                    <a:pt x="640" y="5133"/>
                  </a:lnTo>
                  <a:lnTo>
                    <a:pt x="701" y="5169"/>
                  </a:lnTo>
                  <a:lnTo>
                    <a:pt x="764" y="5201"/>
                  </a:lnTo>
                  <a:lnTo>
                    <a:pt x="832" y="5229"/>
                  </a:lnTo>
                  <a:lnTo>
                    <a:pt x="902" y="5252"/>
                  </a:lnTo>
                  <a:lnTo>
                    <a:pt x="975" y="5270"/>
                  </a:lnTo>
                  <a:lnTo>
                    <a:pt x="1051" y="5283"/>
                  </a:lnTo>
                  <a:lnTo>
                    <a:pt x="1130" y="5291"/>
                  </a:lnTo>
                  <a:lnTo>
                    <a:pt x="1213" y="5294"/>
                  </a:lnTo>
                  <a:lnTo>
                    <a:pt x="1270" y="5293"/>
                  </a:lnTo>
                  <a:lnTo>
                    <a:pt x="1325" y="5290"/>
                  </a:lnTo>
                  <a:lnTo>
                    <a:pt x="1381" y="5286"/>
                  </a:lnTo>
                  <a:lnTo>
                    <a:pt x="1436" y="5280"/>
                  </a:lnTo>
                  <a:lnTo>
                    <a:pt x="1490" y="5271"/>
                  </a:lnTo>
                  <a:lnTo>
                    <a:pt x="1543" y="5261"/>
                  </a:lnTo>
                  <a:lnTo>
                    <a:pt x="1596" y="5250"/>
                  </a:lnTo>
                  <a:lnTo>
                    <a:pt x="1648" y="5236"/>
                  </a:lnTo>
                  <a:lnTo>
                    <a:pt x="1699" y="5222"/>
                  </a:lnTo>
                  <a:lnTo>
                    <a:pt x="1750" y="5205"/>
                  </a:lnTo>
                  <a:lnTo>
                    <a:pt x="1799" y="5188"/>
                  </a:lnTo>
                  <a:lnTo>
                    <a:pt x="1849" y="5168"/>
                  </a:lnTo>
                  <a:lnTo>
                    <a:pt x="1898" y="5147"/>
                  </a:lnTo>
                  <a:lnTo>
                    <a:pt x="1945" y="5125"/>
                  </a:lnTo>
                  <a:lnTo>
                    <a:pt x="1993" y="5101"/>
                  </a:lnTo>
                  <a:lnTo>
                    <a:pt x="2040" y="5075"/>
                  </a:lnTo>
                  <a:lnTo>
                    <a:pt x="2085" y="5049"/>
                  </a:lnTo>
                  <a:lnTo>
                    <a:pt x="2130" y="5021"/>
                  </a:lnTo>
                  <a:lnTo>
                    <a:pt x="2174" y="4993"/>
                  </a:lnTo>
                  <a:lnTo>
                    <a:pt x="2218" y="4962"/>
                  </a:lnTo>
                  <a:lnTo>
                    <a:pt x="2260" y="4931"/>
                  </a:lnTo>
                  <a:lnTo>
                    <a:pt x="2302" y="4898"/>
                  </a:lnTo>
                  <a:lnTo>
                    <a:pt x="2344" y="4863"/>
                  </a:lnTo>
                  <a:lnTo>
                    <a:pt x="2384" y="4828"/>
                  </a:lnTo>
                  <a:lnTo>
                    <a:pt x="2424" y="4793"/>
                  </a:lnTo>
                  <a:lnTo>
                    <a:pt x="2463" y="4756"/>
                  </a:lnTo>
                  <a:lnTo>
                    <a:pt x="2501" y="4718"/>
                  </a:lnTo>
                  <a:lnTo>
                    <a:pt x="2538" y="4679"/>
                  </a:lnTo>
                  <a:lnTo>
                    <a:pt x="2576" y="4638"/>
                  </a:lnTo>
                  <a:lnTo>
                    <a:pt x="2612" y="4598"/>
                  </a:lnTo>
                  <a:lnTo>
                    <a:pt x="2647" y="4556"/>
                  </a:lnTo>
                  <a:lnTo>
                    <a:pt x="2681" y="4513"/>
                  </a:lnTo>
                  <a:lnTo>
                    <a:pt x="2681" y="4574"/>
                  </a:lnTo>
                  <a:lnTo>
                    <a:pt x="2681" y="4637"/>
                  </a:lnTo>
                  <a:lnTo>
                    <a:pt x="2683" y="4702"/>
                  </a:lnTo>
                  <a:lnTo>
                    <a:pt x="2685" y="4768"/>
                  </a:lnTo>
                  <a:lnTo>
                    <a:pt x="2688" y="4833"/>
                  </a:lnTo>
                  <a:lnTo>
                    <a:pt x="2692" y="4899"/>
                  </a:lnTo>
                  <a:lnTo>
                    <a:pt x="2696" y="4962"/>
                  </a:lnTo>
                  <a:lnTo>
                    <a:pt x="2700" y="5021"/>
                  </a:lnTo>
                  <a:lnTo>
                    <a:pt x="2704" y="5077"/>
                  </a:lnTo>
                  <a:lnTo>
                    <a:pt x="2708" y="5130"/>
                  </a:lnTo>
                  <a:lnTo>
                    <a:pt x="2712" y="5175"/>
                  </a:lnTo>
                  <a:lnTo>
                    <a:pt x="2715" y="5216"/>
                  </a:lnTo>
                  <a:lnTo>
                    <a:pt x="2719" y="5248"/>
                  </a:lnTo>
                  <a:lnTo>
                    <a:pt x="2721" y="5272"/>
                  </a:lnTo>
                  <a:lnTo>
                    <a:pt x="2723" y="5288"/>
                  </a:lnTo>
                  <a:lnTo>
                    <a:pt x="2723" y="5293"/>
                  </a:lnTo>
                  <a:lnTo>
                    <a:pt x="4092" y="5128"/>
                  </a:lnTo>
                  <a:lnTo>
                    <a:pt x="4091" y="5081"/>
                  </a:lnTo>
                  <a:lnTo>
                    <a:pt x="4090" y="5031"/>
                  </a:lnTo>
                  <a:lnTo>
                    <a:pt x="4090" y="4975"/>
                  </a:lnTo>
                  <a:lnTo>
                    <a:pt x="4091" y="4916"/>
                  </a:lnTo>
                  <a:lnTo>
                    <a:pt x="4092" y="4854"/>
                  </a:lnTo>
                  <a:lnTo>
                    <a:pt x="4094" y="4788"/>
                  </a:lnTo>
                  <a:lnTo>
                    <a:pt x="4096" y="4720"/>
                  </a:lnTo>
                  <a:lnTo>
                    <a:pt x="4100" y="4649"/>
                  </a:lnTo>
                  <a:lnTo>
                    <a:pt x="4105" y="4576"/>
                  </a:lnTo>
                  <a:lnTo>
                    <a:pt x="4111" y="4502"/>
                  </a:lnTo>
                  <a:lnTo>
                    <a:pt x="4118" y="4427"/>
                  </a:lnTo>
                  <a:lnTo>
                    <a:pt x="4127" y="4350"/>
                  </a:lnTo>
                  <a:lnTo>
                    <a:pt x="4137" y="4274"/>
                  </a:lnTo>
                  <a:lnTo>
                    <a:pt x="4149" y="4197"/>
                  </a:lnTo>
                  <a:lnTo>
                    <a:pt x="4161" y="4121"/>
                  </a:lnTo>
                  <a:lnTo>
                    <a:pt x="4177" y="4044"/>
                  </a:lnTo>
                  <a:lnTo>
                    <a:pt x="4231" y="3790"/>
                  </a:lnTo>
                  <a:lnTo>
                    <a:pt x="4293" y="3509"/>
                  </a:lnTo>
                  <a:lnTo>
                    <a:pt x="4359" y="3205"/>
                  </a:lnTo>
                  <a:lnTo>
                    <a:pt x="4429" y="2888"/>
                  </a:lnTo>
                  <a:lnTo>
                    <a:pt x="4502" y="2560"/>
                  </a:lnTo>
                  <a:lnTo>
                    <a:pt x="4576" y="2230"/>
                  </a:lnTo>
                  <a:lnTo>
                    <a:pt x="4650" y="1903"/>
                  </a:lnTo>
                  <a:lnTo>
                    <a:pt x="4722" y="1585"/>
                  </a:lnTo>
                  <a:lnTo>
                    <a:pt x="4791" y="1281"/>
                  </a:lnTo>
                  <a:lnTo>
                    <a:pt x="4856" y="999"/>
                  </a:lnTo>
                  <a:lnTo>
                    <a:pt x="4914" y="744"/>
                  </a:lnTo>
                  <a:lnTo>
                    <a:pt x="4964" y="521"/>
                  </a:lnTo>
                  <a:lnTo>
                    <a:pt x="5007" y="338"/>
                  </a:lnTo>
                  <a:lnTo>
                    <a:pt x="5038" y="200"/>
                  </a:lnTo>
                  <a:lnTo>
                    <a:pt x="5059" y="112"/>
                  </a:lnTo>
                  <a:lnTo>
                    <a:pt x="5066" y="81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96E769DE-5192-4D88-93BC-8FED315A4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65809" y="6119995"/>
              <a:ext cx="288483" cy="259636"/>
            </a:xfrm>
            <a:custGeom>
              <a:avLst/>
              <a:gdLst>
                <a:gd name="T0" fmla="*/ 2869 w 3912"/>
                <a:gd name="T1" fmla="*/ 283 h 3530"/>
                <a:gd name="T2" fmla="*/ 2669 w 3912"/>
                <a:gd name="T3" fmla="*/ 133 h 3530"/>
                <a:gd name="T4" fmla="*/ 2539 w 3912"/>
                <a:gd name="T5" fmla="*/ 24 h 3530"/>
                <a:gd name="T6" fmla="*/ 2360 w 3912"/>
                <a:gd name="T7" fmla="*/ 20 h 3530"/>
                <a:gd name="T8" fmla="*/ 2160 w 3912"/>
                <a:gd name="T9" fmla="*/ 46 h 3530"/>
                <a:gd name="T10" fmla="*/ 1964 w 3912"/>
                <a:gd name="T11" fmla="*/ 74 h 3530"/>
                <a:gd name="T12" fmla="*/ 1774 w 3912"/>
                <a:gd name="T13" fmla="*/ 102 h 3530"/>
                <a:gd name="T14" fmla="*/ 1512 w 3912"/>
                <a:gd name="T15" fmla="*/ 145 h 3530"/>
                <a:gd name="T16" fmla="*/ 1235 w 3912"/>
                <a:gd name="T17" fmla="*/ 192 h 3530"/>
                <a:gd name="T18" fmla="*/ 966 w 3912"/>
                <a:gd name="T19" fmla="*/ 240 h 3530"/>
                <a:gd name="T20" fmla="*/ 707 w 3912"/>
                <a:gd name="T21" fmla="*/ 289 h 3530"/>
                <a:gd name="T22" fmla="*/ 675 w 3912"/>
                <a:gd name="T23" fmla="*/ 421 h 3530"/>
                <a:gd name="T24" fmla="*/ 732 w 3912"/>
                <a:gd name="T25" fmla="*/ 568 h 3530"/>
                <a:gd name="T26" fmla="*/ 808 w 3912"/>
                <a:gd name="T27" fmla="*/ 702 h 3530"/>
                <a:gd name="T28" fmla="*/ 902 w 3912"/>
                <a:gd name="T29" fmla="*/ 826 h 3530"/>
                <a:gd name="T30" fmla="*/ 1013 w 3912"/>
                <a:gd name="T31" fmla="*/ 945 h 3530"/>
                <a:gd name="T32" fmla="*/ 1139 w 3912"/>
                <a:gd name="T33" fmla="*/ 1059 h 3530"/>
                <a:gd name="T34" fmla="*/ 1396 w 3912"/>
                <a:gd name="T35" fmla="*/ 1256 h 3530"/>
                <a:gd name="T36" fmla="*/ 1650 w 3912"/>
                <a:gd name="T37" fmla="*/ 1422 h 3530"/>
                <a:gd name="T38" fmla="*/ 1865 w 3912"/>
                <a:gd name="T39" fmla="*/ 1562 h 3530"/>
                <a:gd name="T40" fmla="*/ 1996 w 3912"/>
                <a:gd name="T41" fmla="*/ 1664 h 3530"/>
                <a:gd name="T42" fmla="*/ 2081 w 3912"/>
                <a:gd name="T43" fmla="*/ 1751 h 3530"/>
                <a:gd name="T44" fmla="*/ 2115 w 3912"/>
                <a:gd name="T45" fmla="*/ 1809 h 3530"/>
                <a:gd name="T46" fmla="*/ 2131 w 3912"/>
                <a:gd name="T47" fmla="*/ 1871 h 3530"/>
                <a:gd name="T48" fmla="*/ 2130 w 3912"/>
                <a:gd name="T49" fmla="*/ 1935 h 3530"/>
                <a:gd name="T50" fmla="*/ 2112 w 3912"/>
                <a:gd name="T51" fmla="*/ 2008 h 3530"/>
                <a:gd name="T52" fmla="*/ 2070 w 3912"/>
                <a:gd name="T53" fmla="*/ 2104 h 3530"/>
                <a:gd name="T54" fmla="*/ 2009 w 3912"/>
                <a:gd name="T55" fmla="*/ 2180 h 3530"/>
                <a:gd name="T56" fmla="*/ 1930 w 3912"/>
                <a:gd name="T57" fmla="*/ 2239 h 3530"/>
                <a:gd name="T58" fmla="*/ 1838 w 3912"/>
                <a:gd name="T59" fmla="*/ 2282 h 3530"/>
                <a:gd name="T60" fmla="*/ 1731 w 3912"/>
                <a:gd name="T61" fmla="*/ 2313 h 3530"/>
                <a:gd name="T62" fmla="*/ 1613 w 3912"/>
                <a:gd name="T63" fmla="*/ 2332 h 3530"/>
                <a:gd name="T64" fmla="*/ 1451 w 3912"/>
                <a:gd name="T65" fmla="*/ 2343 h 3530"/>
                <a:gd name="T66" fmla="*/ 1203 w 3912"/>
                <a:gd name="T67" fmla="*/ 2342 h 3530"/>
                <a:gd name="T68" fmla="*/ 984 w 3912"/>
                <a:gd name="T69" fmla="*/ 2330 h 3530"/>
                <a:gd name="T70" fmla="*/ 664 w 3912"/>
                <a:gd name="T71" fmla="*/ 2292 h 3530"/>
                <a:gd name="T72" fmla="*/ 411 w 3912"/>
                <a:gd name="T73" fmla="*/ 2241 h 3530"/>
                <a:gd name="T74" fmla="*/ 296 w 3912"/>
                <a:gd name="T75" fmla="*/ 2211 h 3530"/>
                <a:gd name="T76" fmla="*/ 33 w 3912"/>
                <a:gd name="T77" fmla="*/ 3415 h 3530"/>
                <a:gd name="T78" fmla="*/ 289 w 3912"/>
                <a:gd name="T79" fmla="*/ 3458 h 3530"/>
                <a:gd name="T80" fmla="*/ 626 w 3912"/>
                <a:gd name="T81" fmla="*/ 3497 h 3530"/>
                <a:gd name="T82" fmla="*/ 911 w 3912"/>
                <a:gd name="T83" fmla="*/ 3517 h 3530"/>
                <a:gd name="T84" fmla="*/ 1239 w 3912"/>
                <a:gd name="T85" fmla="*/ 3529 h 3530"/>
                <a:gd name="T86" fmla="*/ 1605 w 3912"/>
                <a:gd name="T87" fmla="*/ 3526 h 3530"/>
                <a:gd name="T88" fmla="*/ 2057 w 3912"/>
                <a:gd name="T89" fmla="*/ 3493 h 3530"/>
                <a:gd name="T90" fmla="*/ 2518 w 3912"/>
                <a:gd name="T91" fmla="*/ 3389 h 3530"/>
                <a:gd name="T92" fmla="*/ 2911 w 3912"/>
                <a:gd name="T93" fmla="*/ 3223 h 3530"/>
                <a:gd name="T94" fmla="*/ 3237 w 3912"/>
                <a:gd name="T95" fmla="*/ 3003 h 3530"/>
                <a:gd name="T96" fmla="*/ 3497 w 3912"/>
                <a:gd name="T97" fmla="*/ 2740 h 3530"/>
                <a:gd name="T98" fmla="*/ 3694 w 3912"/>
                <a:gd name="T99" fmla="*/ 2445 h 3530"/>
                <a:gd name="T100" fmla="*/ 3827 w 3912"/>
                <a:gd name="T101" fmla="*/ 2128 h 3530"/>
                <a:gd name="T102" fmla="*/ 3899 w 3912"/>
                <a:gd name="T103" fmla="*/ 1800 h 3530"/>
                <a:gd name="T104" fmla="*/ 3910 w 3912"/>
                <a:gd name="T105" fmla="*/ 1533 h 3530"/>
                <a:gd name="T106" fmla="*/ 3875 w 3912"/>
                <a:gd name="T107" fmla="*/ 1340 h 3530"/>
                <a:gd name="T108" fmla="*/ 3805 w 3912"/>
                <a:gd name="T109" fmla="*/ 1164 h 3530"/>
                <a:gd name="T110" fmla="*/ 3702 w 3912"/>
                <a:gd name="T111" fmla="*/ 1000 h 3530"/>
                <a:gd name="T112" fmla="*/ 3575 w 3912"/>
                <a:gd name="T113" fmla="*/ 848 h 3530"/>
                <a:gd name="T114" fmla="*/ 3427 w 3912"/>
                <a:gd name="T115" fmla="*/ 706 h 3530"/>
                <a:gd name="T116" fmla="*/ 3265 w 3912"/>
                <a:gd name="T117" fmla="*/ 573 h 3530"/>
                <a:gd name="T118" fmla="*/ 3009 w 3912"/>
                <a:gd name="T119" fmla="*/ 386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12" h="3530">
                  <a:moveTo>
                    <a:pt x="3009" y="386"/>
                  </a:moveTo>
                  <a:lnTo>
                    <a:pt x="2964" y="353"/>
                  </a:lnTo>
                  <a:lnTo>
                    <a:pt x="2918" y="318"/>
                  </a:lnTo>
                  <a:lnTo>
                    <a:pt x="2869" y="283"/>
                  </a:lnTo>
                  <a:lnTo>
                    <a:pt x="2819" y="247"/>
                  </a:lnTo>
                  <a:lnTo>
                    <a:pt x="2769" y="210"/>
                  </a:lnTo>
                  <a:lnTo>
                    <a:pt x="2718" y="172"/>
                  </a:lnTo>
                  <a:lnTo>
                    <a:pt x="2669" y="133"/>
                  </a:lnTo>
                  <a:lnTo>
                    <a:pt x="2623" y="93"/>
                  </a:lnTo>
                  <a:lnTo>
                    <a:pt x="2595" y="69"/>
                  </a:lnTo>
                  <a:lnTo>
                    <a:pt x="2566" y="46"/>
                  </a:lnTo>
                  <a:lnTo>
                    <a:pt x="2539" y="24"/>
                  </a:lnTo>
                  <a:lnTo>
                    <a:pt x="2512" y="0"/>
                  </a:lnTo>
                  <a:lnTo>
                    <a:pt x="2461" y="7"/>
                  </a:lnTo>
                  <a:lnTo>
                    <a:pt x="2410" y="13"/>
                  </a:lnTo>
                  <a:lnTo>
                    <a:pt x="2360" y="20"/>
                  </a:lnTo>
                  <a:lnTo>
                    <a:pt x="2309" y="27"/>
                  </a:lnTo>
                  <a:lnTo>
                    <a:pt x="2259" y="33"/>
                  </a:lnTo>
                  <a:lnTo>
                    <a:pt x="2209" y="40"/>
                  </a:lnTo>
                  <a:lnTo>
                    <a:pt x="2160" y="46"/>
                  </a:lnTo>
                  <a:lnTo>
                    <a:pt x="2110" y="54"/>
                  </a:lnTo>
                  <a:lnTo>
                    <a:pt x="2062" y="60"/>
                  </a:lnTo>
                  <a:lnTo>
                    <a:pt x="2013" y="67"/>
                  </a:lnTo>
                  <a:lnTo>
                    <a:pt x="1964" y="74"/>
                  </a:lnTo>
                  <a:lnTo>
                    <a:pt x="1916" y="82"/>
                  </a:lnTo>
                  <a:lnTo>
                    <a:pt x="1868" y="89"/>
                  </a:lnTo>
                  <a:lnTo>
                    <a:pt x="1820" y="95"/>
                  </a:lnTo>
                  <a:lnTo>
                    <a:pt x="1774" y="102"/>
                  </a:lnTo>
                  <a:lnTo>
                    <a:pt x="1727" y="109"/>
                  </a:lnTo>
                  <a:lnTo>
                    <a:pt x="1655" y="121"/>
                  </a:lnTo>
                  <a:lnTo>
                    <a:pt x="1583" y="133"/>
                  </a:lnTo>
                  <a:lnTo>
                    <a:pt x="1512" y="145"/>
                  </a:lnTo>
                  <a:lnTo>
                    <a:pt x="1442" y="156"/>
                  </a:lnTo>
                  <a:lnTo>
                    <a:pt x="1372" y="168"/>
                  </a:lnTo>
                  <a:lnTo>
                    <a:pt x="1303" y="180"/>
                  </a:lnTo>
                  <a:lnTo>
                    <a:pt x="1235" y="192"/>
                  </a:lnTo>
                  <a:lnTo>
                    <a:pt x="1166" y="203"/>
                  </a:lnTo>
                  <a:lnTo>
                    <a:pt x="1099" y="216"/>
                  </a:lnTo>
                  <a:lnTo>
                    <a:pt x="1032" y="228"/>
                  </a:lnTo>
                  <a:lnTo>
                    <a:pt x="966" y="240"/>
                  </a:lnTo>
                  <a:lnTo>
                    <a:pt x="900" y="252"/>
                  </a:lnTo>
                  <a:lnTo>
                    <a:pt x="835" y="264"/>
                  </a:lnTo>
                  <a:lnTo>
                    <a:pt x="771" y="277"/>
                  </a:lnTo>
                  <a:lnTo>
                    <a:pt x="707" y="289"/>
                  </a:lnTo>
                  <a:lnTo>
                    <a:pt x="644" y="302"/>
                  </a:lnTo>
                  <a:lnTo>
                    <a:pt x="653" y="343"/>
                  </a:lnTo>
                  <a:lnTo>
                    <a:pt x="662" y="382"/>
                  </a:lnTo>
                  <a:lnTo>
                    <a:pt x="675" y="421"/>
                  </a:lnTo>
                  <a:lnTo>
                    <a:pt x="687" y="458"/>
                  </a:lnTo>
                  <a:lnTo>
                    <a:pt x="701" y="496"/>
                  </a:lnTo>
                  <a:lnTo>
                    <a:pt x="716" y="532"/>
                  </a:lnTo>
                  <a:lnTo>
                    <a:pt x="732" y="568"/>
                  </a:lnTo>
                  <a:lnTo>
                    <a:pt x="749" y="602"/>
                  </a:lnTo>
                  <a:lnTo>
                    <a:pt x="768" y="636"/>
                  </a:lnTo>
                  <a:lnTo>
                    <a:pt x="788" y="669"/>
                  </a:lnTo>
                  <a:lnTo>
                    <a:pt x="808" y="702"/>
                  </a:lnTo>
                  <a:lnTo>
                    <a:pt x="830" y="733"/>
                  </a:lnTo>
                  <a:lnTo>
                    <a:pt x="853" y="765"/>
                  </a:lnTo>
                  <a:lnTo>
                    <a:pt x="878" y="796"/>
                  </a:lnTo>
                  <a:lnTo>
                    <a:pt x="902" y="826"/>
                  </a:lnTo>
                  <a:lnTo>
                    <a:pt x="928" y="856"/>
                  </a:lnTo>
                  <a:lnTo>
                    <a:pt x="955" y="886"/>
                  </a:lnTo>
                  <a:lnTo>
                    <a:pt x="984" y="915"/>
                  </a:lnTo>
                  <a:lnTo>
                    <a:pt x="1013" y="945"/>
                  </a:lnTo>
                  <a:lnTo>
                    <a:pt x="1043" y="973"/>
                  </a:lnTo>
                  <a:lnTo>
                    <a:pt x="1074" y="1002"/>
                  </a:lnTo>
                  <a:lnTo>
                    <a:pt x="1106" y="1030"/>
                  </a:lnTo>
                  <a:lnTo>
                    <a:pt x="1139" y="1059"/>
                  </a:lnTo>
                  <a:lnTo>
                    <a:pt x="1174" y="1086"/>
                  </a:lnTo>
                  <a:lnTo>
                    <a:pt x="1244" y="1142"/>
                  </a:lnTo>
                  <a:lnTo>
                    <a:pt x="1318" y="1199"/>
                  </a:lnTo>
                  <a:lnTo>
                    <a:pt x="1396" y="1256"/>
                  </a:lnTo>
                  <a:lnTo>
                    <a:pt x="1478" y="1314"/>
                  </a:lnTo>
                  <a:lnTo>
                    <a:pt x="1535" y="1350"/>
                  </a:lnTo>
                  <a:lnTo>
                    <a:pt x="1592" y="1386"/>
                  </a:lnTo>
                  <a:lnTo>
                    <a:pt x="1650" y="1422"/>
                  </a:lnTo>
                  <a:lnTo>
                    <a:pt x="1706" y="1458"/>
                  </a:lnTo>
                  <a:lnTo>
                    <a:pt x="1760" y="1493"/>
                  </a:lnTo>
                  <a:lnTo>
                    <a:pt x="1814" y="1528"/>
                  </a:lnTo>
                  <a:lnTo>
                    <a:pt x="1865" y="1562"/>
                  </a:lnTo>
                  <a:lnTo>
                    <a:pt x="1913" y="1597"/>
                  </a:lnTo>
                  <a:lnTo>
                    <a:pt x="1941" y="1618"/>
                  </a:lnTo>
                  <a:lnTo>
                    <a:pt x="1968" y="1641"/>
                  </a:lnTo>
                  <a:lnTo>
                    <a:pt x="1996" y="1664"/>
                  </a:lnTo>
                  <a:lnTo>
                    <a:pt x="2022" y="1688"/>
                  </a:lnTo>
                  <a:lnTo>
                    <a:pt x="2048" y="1713"/>
                  </a:lnTo>
                  <a:lnTo>
                    <a:pt x="2071" y="1739"/>
                  </a:lnTo>
                  <a:lnTo>
                    <a:pt x="2081" y="1751"/>
                  </a:lnTo>
                  <a:lnTo>
                    <a:pt x="2092" y="1765"/>
                  </a:lnTo>
                  <a:lnTo>
                    <a:pt x="2101" y="1778"/>
                  </a:lnTo>
                  <a:lnTo>
                    <a:pt x="2109" y="1793"/>
                  </a:lnTo>
                  <a:lnTo>
                    <a:pt x="2115" y="1809"/>
                  </a:lnTo>
                  <a:lnTo>
                    <a:pt x="2122" y="1825"/>
                  </a:lnTo>
                  <a:lnTo>
                    <a:pt x="2126" y="1841"/>
                  </a:lnTo>
                  <a:lnTo>
                    <a:pt x="2129" y="1857"/>
                  </a:lnTo>
                  <a:lnTo>
                    <a:pt x="2131" y="1871"/>
                  </a:lnTo>
                  <a:lnTo>
                    <a:pt x="2132" y="1886"/>
                  </a:lnTo>
                  <a:lnTo>
                    <a:pt x="2132" y="1899"/>
                  </a:lnTo>
                  <a:lnTo>
                    <a:pt x="2132" y="1913"/>
                  </a:lnTo>
                  <a:lnTo>
                    <a:pt x="2130" y="1935"/>
                  </a:lnTo>
                  <a:lnTo>
                    <a:pt x="2127" y="1955"/>
                  </a:lnTo>
                  <a:lnTo>
                    <a:pt x="2124" y="1970"/>
                  </a:lnTo>
                  <a:lnTo>
                    <a:pt x="2121" y="1981"/>
                  </a:lnTo>
                  <a:lnTo>
                    <a:pt x="2112" y="2008"/>
                  </a:lnTo>
                  <a:lnTo>
                    <a:pt x="2104" y="2033"/>
                  </a:lnTo>
                  <a:lnTo>
                    <a:pt x="2094" y="2058"/>
                  </a:lnTo>
                  <a:lnTo>
                    <a:pt x="2082" y="2082"/>
                  </a:lnTo>
                  <a:lnTo>
                    <a:pt x="2070" y="2104"/>
                  </a:lnTo>
                  <a:lnTo>
                    <a:pt x="2056" y="2124"/>
                  </a:lnTo>
                  <a:lnTo>
                    <a:pt x="2041" y="2144"/>
                  </a:lnTo>
                  <a:lnTo>
                    <a:pt x="2025" y="2162"/>
                  </a:lnTo>
                  <a:lnTo>
                    <a:pt x="2009" y="2180"/>
                  </a:lnTo>
                  <a:lnTo>
                    <a:pt x="1990" y="2197"/>
                  </a:lnTo>
                  <a:lnTo>
                    <a:pt x="1972" y="2212"/>
                  </a:lnTo>
                  <a:lnTo>
                    <a:pt x="1952" y="2225"/>
                  </a:lnTo>
                  <a:lnTo>
                    <a:pt x="1930" y="2239"/>
                  </a:lnTo>
                  <a:lnTo>
                    <a:pt x="1908" y="2251"/>
                  </a:lnTo>
                  <a:lnTo>
                    <a:pt x="1886" y="2263"/>
                  </a:lnTo>
                  <a:lnTo>
                    <a:pt x="1862" y="2273"/>
                  </a:lnTo>
                  <a:lnTo>
                    <a:pt x="1838" y="2282"/>
                  </a:lnTo>
                  <a:lnTo>
                    <a:pt x="1812" y="2292"/>
                  </a:lnTo>
                  <a:lnTo>
                    <a:pt x="1786" y="2300"/>
                  </a:lnTo>
                  <a:lnTo>
                    <a:pt x="1759" y="2307"/>
                  </a:lnTo>
                  <a:lnTo>
                    <a:pt x="1731" y="2313"/>
                  </a:lnTo>
                  <a:lnTo>
                    <a:pt x="1702" y="2318"/>
                  </a:lnTo>
                  <a:lnTo>
                    <a:pt x="1673" y="2324"/>
                  </a:lnTo>
                  <a:lnTo>
                    <a:pt x="1643" y="2329"/>
                  </a:lnTo>
                  <a:lnTo>
                    <a:pt x="1613" y="2332"/>
                  </a:lnTo>
                  <a:lnTo>
                    <a:pt x="1581" y="2335"/>
                  </a:lnTo>
                  <a:lnTo>
                    <a:pt x="1550" y="2338"/>
                  </a:lnTo>
                  <a:lnTo>
                    <a:pt x="1517" y="2340"/>
                  </a:lnTo>
                  <a:lnTo>
                    <a:pt x="1451" y="2343"/>
                  </a:lnTo>
                  <a:lnTo>
                    <a:pt x="1383" y="2344"/>
                  </a:lnTo>
                  <a:lnTo>
                    <a:pt x="1322" y="2344"/>
                  </a:lnTo>
                  <a:lnTo>
                    <a:pt x="1262" y="2343"/>
                  </a:lnTo>
                  <a:lnTo>
                    <a:pt x="1203" y="2342"/>
                  </a:lnTo>
                  <a:lnTo>
                    <a:pt x="1146" y="2340"/>
                  </a:lnTo>
                  <a:lnTo>
                    <a:pt x="1091" y="2337"/>
                  </a:lnTo>
                  <a:lnTo>
                    <a:pt x="1036" y="2334"/>
                  </a:lnTo>
                  <a:lnTo>
                    <a:pt x="984" y="2330"/>
                  </a:lnTo>
                  <a:lnTo>
                    <a:pt x="933" y="2325"/>
                  </a:lnTo>
                  <a:lnTo>
                    <a:pt x="836" y="2314"/>
                  </a:lnTo>
                  <a:lnTo>
                    <a:pt x="747" y="2303"/>
                  </a:lnTo>
                  <a:lnTo>
                    <a:pt x="664" y="2292"/>
                  </a:lnTo>
                  <a:lnTo>
                    <a:pt x="589" y="2278"/>
                  </a:lnTo>
                  <a:lnTo>
                    <a:pt x="522" y="2266"/>
                  </a:lnTo>
                  <a:lnTo>
                    <a:pt x="463" y="2253"/>
                  </a:lnTo>
                  <a:lnTo>
                    <a:pt x="411" y="2241"/>
                  </a:lnTo>
                  <a:lnTo>
                    <a:pt x="368" y="2231"/>
                  </a:lnTo>
                  <a:lnTo>
                    <a:pt x="335" y="2222"/>
                  </a:lnTo>
                  <a:lnTo>
                    <a:pt x="311" y="2215"/>
                  </a:lnTo>
                  <a:lnTo>
                    <a:pt x="296" y="2211"/>
                  </a:lnTo>
                  <a:lnTo>
                    <a:pt x="291" y="2209"/>
                  </a:lnTo>
                  <a:lnTo>
                    <a:pt x="0" y="3408"/>
                  </a:lnTo>
                  <a:lnTo>
                    <a:pt x="8" y="3410"/>
                  </a:lnTo>
                  <a:lnTo>
                    <a:pt x="33" y="3415"/>
                  </a:lnTo>
                  <a:lnTo>
                    <a:pt x="74" y="3422"/>
                  </a:lnTo>
                  <a:lnTo>
                    <a:pt x="131" y="3433"/>
                  </a:lnTo>
                  <a:lnTo>
                    <a:pt x="203" y="3445"/>
                  </a:lnTo>
                  <a:lnTo>
                    <a:pt x="289" y="3458"/>
                  </a:lnTo>
                  <a:lnTo>
                    <a:pt x="388" y="3471"/>
                  </a:lnTo>
                  <a:lnTo>
                    <a:pt x="501" y="3484"/>
                  </a:lnTo>
                  <a:lnTo>
                    <a:pt x="562" y="3491"/>
                  </a:lnTo>
                  <a:lnTo>
                    <a:pt x="626" y="3497"/>
                  </a:lnTo>
                  <a:lnTo>
                    <a:pt x="693" y="3503"/>
                  </a:lnTo>
                  <a:lnTo>
                    <a:pt x="763" y="3508"/>
                  </a:lnTo>
                  <a:lnTo>
                    <a:pt x="836" y="3513"/>
                  </a:lnTo>
                  <a:lnTo>
                    <a:pt x="911" y="3517"/>
                  </a:lnTo>
                  <a:lnTo>
                    <a:pt x="989" y="3522"/>
                  </a:lnTo>
                  <a:lnTo>
                    <a:pt x="1070" y="3525"/>
                  </a:lnTo>
                  <a:lnTo>
                    <a:pt x="1154" y="3528"/>
                  </a:lnTo>
                  <a:lnTo>
                    <a:pt x="1239" y="3529"/>
                  </a:lnTo>
                  <a:lnTo>
                    <a:pt x="1328" y="3530"/>
                  </a:lnTo>
                  <a:lnTo>
                    <a:pt x="1418" y="3529"/>
                  </a:lnTo>
                  <a:lnTo>
                    <a:pt x="1510" y="3528"/>
                  </a:lnTo>
                  <a:lnTo>
                    <a:pt x="1605" y="3526"/>
                  </a:lnTo>
                  <a:lnTo>
                    <a:pt x="1702" y="3522"/>
                  </a:lnTo>
                  <a:lnTo>
                    <a:pt x="1801" y="3517"/>
                  </a:lnTo>
                  <a:lnTo>
                    <a:pt x="1931" y="3507"/>
                  </a:lnTo>
                  <a:lnTo>
                    <a:pt x="2057" y="3493"/>
                  </a:lnTo>
                  <a:lnTo>
                    <a:pt x="2179" y="3474"/>
                  </a:lnTo>
                  <a:lnTo>
                    <a:pt x="2297" y="3450"/>
                  </a:lnTo>
                  <a:lnTo>
                    <a:pt x="2409" y="3422"/>
                  </a:lnTo>
                  <a:lnTo>
                    <a:pt x="2518" y="3389"/>
                  </a:lnTo>
                  <a:lnTo>
                    <a:pt x="2623" y="3353"/>
                  </a:lnTo>
                  <a:lnTo>
                    <a:pt x="2723" y="3314"/>
                  </a:lnTo>
                  <a:lnTo>
                    <a:pt x="2819" y="3271"/>
                  </a:lnTo>
                  <a:lnTo>
                    <a:pt x="2911" y="3223"/>
                  </a:lnTo>
                  <a:lnTo>
                    <a:pt x="2998" y="3173"/>
                  </a:lnTo>
                  <a:lnTo>
                    <a:pt x="3082" y="3119"/>
                  </a:lnTo>
                  <a:lnTo>
                    <a:pt x="3162" y="3062"/>
                  </a:lnTo>
                  <a:lnTo>
                    <a:pt x="3237" y="3003"/>
                  </a:lnTo>
                  <a:lnTo>
                    <a:pt x="3308" y="2941"/>
                  </a:lnTo>
                  <a:lnTo>
                    <a:pt x="3375" y="2876"/>
                  </a:lnTo>
                  <a:lnTo>
                    <a:pt x="3438" y="2809"/>
                  </a:lnTo>
                  <a:lnTo>
                    <a:pt x="3497" y="2740"/>
                  </a:lnTo>
                  <a:lnTo>
                    <a:pt x="3552" y="2669"/>
                  </a:lnTo>
                  <a:lnTo>
                    <a:pt x="3604" y="2596"/>
                  </a:lnTo>
                  <a:lnTo>
                    <a:pt x="3650" y="2521"/>
                  </a:lnTo>
                  <a:lnTo>
                    <a:pt x="3694" y="2445"/>
                  </a:lnTo>
                  <a:lnTo>
                    <a:pt x="3733" y="2367"/>
                  </a:lnTo>
                  <a:lnTo>
                    <a:pt x="3768" y="2288"/>
                  </a:lnTo>
                  <a:lnTo>
                    <a:pt x="3799" y="2209"/>
                  </a:lnTo>
                  <a:lnTo>
                    <a:pt x="3827" y="2128"/>
                  </a:lnTo>
                  <a:lnTo>
                    <a:pt x="3851" y="2047"/>
                  </a:lnTo>
                  <a:lnTo>
                    <a:pt x="3871" y="1965"/>
                  </a:lnTo>
                  <a:lnTo>
                    <a:pt x="3886" y="1883"/>
                  </a:lnTo>
                  <a:lnTo>
                    <a:pt x="3899" y="1800"/>
                  </a:lnTo>
                  <a:lnTo>
                    <a:pt x="3907" y="1717"/>
                  </a:lnTo>
                  <a:lnTo>
                    <a:pt x="3912" y="1635"/>
                  </a:lnTo>
                  <a:lnTo>
                    <a:pt x="3912" y="1583"/>
                  </a:lnTo>
                  <a:lnTo>
                    <a:pt x="3910" y="1533"/>
                  </a:lnTo>
                  <a:lnTo>
                    <a:pt x="3905" y="1483"/>
                  </a:lnTo>
                  <a:lnTo>
                    <a:pt x="3898" y="1434"/>
                  </a:lnTo>
                  <a:lnTo>
                    <a:pt x="3887" y="1387"/>
                  </a:lnTo>
                  <a:lnTo>
                    <a:pt x="3875" y="1340"/>
                  </a:lnTo>
                  <a:lnTo>
                    <a:pt x="3860" y="1295"/>
                  </a:lnTo>
                  <a:lnTo>
                    <a:pt x="3844" y="1251"/>
                  </a:lnTo>
                  <a:lnTo>
                    <a:pt x="3825" y="1206"/>
                  </a:lnTo>
                  <a:lnTo>
                    <a:pt x="3805" y="1164"/>
                  </a:lnTo>
                  <a:lnTo>
                    <a:pt x="3782" y="1122"/>
                  </a:lnTo>
                  <a:lnTo>
                    <a:pt x="3757" y="1080"/>
                  </a:lnTo>
                  <a:lnTo>
                    <a:pt x="3730" y="1040"/>
                  </a:lnTo>
                  <a:lnTo>
                    <a:pt x="3702" y="1000"/>
                  </a:lnTo>
                  <a:lnTo>
                    <a:pt x="3672" y="961"/>
                  </a:lnTo>
                  <a:lnTo>
                    <a:pt x="3641" y="922"/>
                  </a:lnTo>
                  <a:lnTo>
                    <a:pt x="3608" y="885"/>
                  </a:lnTo>
                  <a:lnTo>
                    <a:pt x="3575" y="848"/>
                  </a:lnTo>
                  <a:lnTo>
                    <a:pt x="3539" y="812"/>
                  </a:lnTo>
                  <a:lnTo>
                    <a:pt x="3502" y="776"/>
                  </a:lnTo>
                  <a:lnTo>
                    <a:pt x="3465" y="740"/>
                  </a:lnTo>
                  <a:lnTo>
                    <a:pt x="3427" y="706"/>
                  </a:lnTo>
                  <a:lnTo>
                    <a:pt x="3387" y="672"/>
                  </a:lnTo>
                  <a:lnTo>
                    <a:pt x="3347" y="639"/>
                  </a:lnTo>
                  <a:lnTo>
                    <a:pt x="3307" y="606"/>
                  </a:lnTo>
                  <a:lnTo>
                    <a:pt x="3265" y="573"/>
                  </a:lnTo>
                  <a:lnTo>
                    <a:pt x="3223" y="541"/>
                  </a:lnTo>
                  <a:lnTo>
                    <a:pt x="3180" y="509"/>
                  </a:lnTo>
                  <a:lnTo>
                    <a:pt x="3096" y="447"/>
                  </a:lnTo>
                  <a:lnTo>
                    <a:pt x="3009" y="38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E5F7165E-4763-4A78-8A1F-DE3B92157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01808" y="6094540"/>
              <a:ext cx="195150" cy="285091"/>
            </a:xfrm>
            <a:custGeom>
              <a:avLst/>
              <a:gdLst>
                <a:gd name="T0" fmla="*/ 2165 w 2638"/>
                <a:gd name="T1" fmla="*/ 2636 h 3868"/>
                <a:gd name="T2" fmla="*/ 2059 w 2638"/>
                <a:gd name="T3" fmla="*/ 2630 h 3868"/>
                <a:gd name="T4" fmla="*/ 1961 w 2638"/>
                <a:gd name="T5" fmla="*/ 2615 h 3868"/>
                <a:gd name="T6" fmla="*/ 1880 w 2638"/>
                <a:gd name="T7" fmla="*/ 2590 h 3868"/>
                <a:gd name="T8" fmla="*/ 1835 w 2638"/>
                <a:gd name="T9" fmla="*/ 2569 h 3868"/>
                <a:gd name="T10" fmla="*/ 1808 w 2638"/>
                <a:gd name="T11" fmla="*/ 2549 h 3868"/>
                <a:gd name="T12" fmla="*/ 1786 w 2638"/>
                <a:gd name="T13" fmla="*/ 2526 h 3868"/>
                <a:gd name="T14" fmla="*/ 1762 w 2638"/>
                <a:gd name="T15" fmla="*/ 2490 h 3868"/>
                <a:gd name="T16" fmla="*/ 1744 w 2638"/>
                <a:gd name="T17" fmla="*/ 2451 h 3868"/>
                <a:gd name="T18" fmla="*/ 1732 w 2638"/>
                <a:gd name="T19" fmla="*/ 2407 h 3868"/>
                <a:gd name="T20" fmla="*/ 1724 w 2638"/>
                <a:gd name="T21" fmla="*/ 2362 h 3868"/>
                <a:gd name="T22" fmla="*/ 1721 w 2638"/>
                <a:gd name="T23" fmla="*/ 2267 h 3868"/>
                <a:gd name="T24" fmla="*/ 1730 w 2638"/>
                <a:gd name="T25" fmla="*/ 2172 h 3868"/>
                <a:gd name="T26" fmla="*/ 2204 w 2638"/>
                <a:gd name="T27" fmla="*/ 0 h 3868"/>
                <a:gd name="T28" fmla="*/ 1895 w 2638"/>
                <a:gd name="T29" fmla="*/ 17 h 3868"/>
                <a:gd name="T30" fmla="*/ 1582 w 2638"/>
                <a:gd name="T31" fmla="*/ 33 h 3868"/>
                <a:gd name="T32" fmla="*/ 1267 w 2638"/>
                <a:gd name="T33" fmla="*/ 52 h 3868"/>
                <a:gd name="T34" fmla="*/ 950 w 2638"/>
                <a:gd name="T35" fmla="*/ 71 h 3868"/>
                <a:gd name="T36" fmla="*/ 633 w 2638"/>
                <a:gd name="T37" fmla="*/ 93 h 3868"/>
                <a:gd name="T38" fmla="*/ 474 w 2638"/>
                <a:gd name="T39" fmla="*/ 336 h 3868"/>
                <a:gd name="T40" fmla="*/ 391 w 2638"/>
                <a:gd name="T41" fmla="*/ 698 h 3868"/>
                <a:gd name="T42" fmla="*/ 306 w 2638"/>
                <a:gd name="T43" fmla="*/ 1068 h 3868"/>
                <a:gd name="T44" fmla="*/ 219 w 2638"/>
                <a:gd name="T45" fmla="*/ 1444 h 3868"/>
                <a:gd name="T46" fmla="*/ 132 w 2638"/>
                <a:gd name="T47" fmla="*/ 1823 h 3868"/>
                <a:gd name="T48" fmla="*/ 64 w 2638"/>
                <a:gd name="T49" fmla="*/ 2120 h 3868"/>
                <a:gd name="T50" fmla="*/ 38 w 2638"/>
                <a:gd name="T51" fmla="*/ 2255 h 3868"/>
                <a:gd name="T52" fmla="*/ 18 w 2638"/>
                <a:gd name="T53" fmla="*/ 2389 h 3868"/>
                <a:gd name="T54" fmla="*/ 5 w 2638"/>
                <a:gd name="T55" fmla="*/ 2524 h 3868"/>
                <a:gd name="T56" fmla="*/ 0 w 2638"/>
                <a:gd name="T57" fmla="*/ 2659 h 3868"/>
                <a:gd name="T58" fmla="*/ 5 w 2638"/>
                <a:gd name="T59" fmla="*/ 2793 h 3868"/>
                <a:gd name="T60" fmla="*/ 21 w 2638"/>
                <a:gd name="T61" fmla="*/ 2924 h 3868"/>
                <a:gd name="T62" fmla="*/ 48 w 2638"/>
                <a:gd name="T63" fmla="*/ 3052 h 3868"/>
                <a:gd name="T64" fmla="*/ 87 w 2638"/>
                <a:gd name="T65" fmla="*/ 3176 h 3868"/>
                <a:gd name="T66" fmla="*/ 141 w 2638"/>
                <a:gd name="T67" fmla="*/ 3295 h 3868"/>
                <a:gd name="T68" fmla="*/ 210 w 2638"/>
                <a:gd name="T69" fmla="*/ 3407 h 3868"/>
                <a:gd name="T70" fmla="*/ 274 w 2638"/>
                <a:gd name="T71" fmla="*/ 3488 h 3868"/>
                <a:gd name="T72" fmla="*/ 336 w 2638"/>
                <a:gd name="T73" fmla="*/ 3552 h 3868"/>
                <a:gd name="T74" fmla="*/ 406 w 2638"/>
                <a:gd name="T75" fmla="*/ 3612 h 3868"/>
                <a:gd name="T76" fmla="*/ 483 w 2638"/>
                <a:gd name="T77" fmla="*/ 3667 h 3868"/>
                <a:gd name="T78" fmla="*/ 568 w 2638"/>
                <a:gd name="T79" fmla="*/ 3717 h 3868"/>
                <a:gd name="T80" fmla="*/ 662 w 2638"/>
                <a:gd name="T81" fmla="*/ 3760 h 3868"/>
                <a:gd name="T82" fmla="*/ 766 w 2638"/>
                <a:gd name="T83" fmla="*/ 3798 h 3868"/>
                <a:gd name="T84" fmla="*/ 879 w 2638"/>
                <a:gd name="T85" fmla="*/ 3827 h 3868"/>
                <a:gd name="T86" fmla="*/ 1001 w 2638"/>
                <a:gd name="T87" fmla="*/ 3849 h 3868"/>
                <a:gd name="T88" fmla="*/ 1134 w 2638"/>
                <a:gd name="T89" fmla="*/ 3863 h 3868"/>
                <a:gd name="T90" fmla="*/ 1278 w 2638"/>
                <a:gd name="T91" fmla="*/ 3868 h 3868"/>
                <a:gd name="T92" fmla="*/ 1475 w 2638"/>
                <a:gd name="T93" fmla="*/ 3865 h 3868"/>
                <a:gd name="T94" fmla="*/ 1684 w 2638"/>
                <a:gd name="T95" fmla="*/ 3854 h 3868"/>
                <a:gd name="T96" fmla="*/ 1899 w 2638"/>
                <a:gd name="T97" fmla="*/ 3834 h 3868"/>
                <a:gd name="T98" fmla="*/ 2118 w 2638"/>
                <a:gd name="T99" fmla="*/ 3802 h 3868"/>
                <a:gd name="T100" fmla="*/ 2336 w 2638"/>
                <a:gd name="T101" fmla="*/ 3754 h 3868"/>
                <a:gd name="T102" fmla="*/ 2592 w 2638"/>
                <a:gd name="T103" fmla="*/ 2620 h 3868"/>
                <a:gd name="T104" fmla="*/ 2448 w 2638"/>
                <a:gd name="T105" fmla="*/ 2631 h 3868"/>
                <a:gd name="T106" fmla="*/ 2294 w 2638"/>
                <a:gd name="T107" fmla="*/ 2637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8" h="3868">
                  <a:moveTo>
                    <a:pt x="2241" y="2637"/>
                  </a:moveTo>
                  <a:lnTo>
                    <a:pt x="2202" y="2637"/>
                  </a:lnTo>
                  <a:lnTo>
                    <a:pt x="2165" y="2636"/>
                  </a:lnTo>
                  <a:lnTo>
                    <a:pt x="2129" y="2635"/>
                  </a:lnTo>
                  <a:lnTo>
                    <a:pt x="2093" y="2633"/>
                  </a:lnTo>
                  <a:lnTo>
                    <a:pt x="2059" y="2630"/>
                  </a:lnTo>
                  <a:lnTo>
                    <a:pt x="2024" y="2625"/>
                  </a:lnTo>
                  <a:lnTo>
                    <a:pt x="1992" y="2620"/>
                  </a:lnTo>
                  <a:lnTo>
                    <a:pt x="1961" y="2615"/>
                  </a:lnTo>
                  <a:lnTo>
                    <a:pt x="1932" y="2608"/>
                  </a:lnTo>
                  <a:lnTo>
                    <a:pt x="1905" y="2600"/>
                  </a:lnTo>
                  <a:lnTo>
                    <a:pt x="1880" y="2590"/>
                  </a:lnTo>
                  <a:lnTo>
                    <a:pt x="1856" y="2580"/>
                  </a:lnTo>
                  <a:lnTo>
                    <a:pt x="1845" y="2575"/>
                  </a:lnTo>
                  <a:lnTo>
                    <a:pt x="1835" y="2569"/>
                  </a:lnTo>
                  <a:lnTo>
                    <a:pt x="1826" y="2562"/>
                  </a:lnTo>
                  <a:lnTo>
                    <a:pt x="1816" y="2556"/>
                  </a:lnTo>
                  <a:lnTo>
                    <a:pt x="1808" y="2549"/>
                  </a:lnTo>
                  <a:lnTo>
                    <a:pt x="1800" y="2542"/>
                  </a:lnTo>
                  <a:lnTo>
                    <a:pt x="1794" y="2533"/>
                  </a:lnTo>
                  <a:lnTo>
                    <a:pt x="1786" y="2526"/>
                  </a:lnTo>
                  <a:lnTo>
                    <a:pt x="1778" y="2515"/>
                  </a:lnTo>
                  <a:lnTo>
                    <a:pt x="1770" y="2502"/>
                  </a:lnTo>
                  <a:lnTo>
                    <a:pt x="1762" y="2490"/>
                  </a:lnTo>
                  <a:lnTo>
                    <a:pt x="1755" y="2478"/>
                  </a:lnTo>
                  <a:lnTo>
                    <a:pt x="1749" y="2464"/>
                  </a:lnTo>
                  <a:lnTo>
                    <a:pt x="1744" y="2451"/>
                  </a:lnTo>
                  <a:lnTo>
                    <a:pt x="1739" y="2437"/>
                  </a:lnTo>
                  <a:lnTo>
                    <a:pt x="1735" y="2423"/>
                  </a:lnTo>
                  <a:lnTo>
                    <a:pt x="1732" y="2407"/>
                  </a:lnTo>
                  <a:lnTo>
                    <a:pt x="1728" y="2393"/>
                  </a:lnTo>
                  <a:lnTo>
                    <a:pt x="1725" y="2378"/>
                  </a:lnTo>
                  <a:lnTo>
                    <a:pt x="1724" y="2362"/>
                  </a:lnTo>
                  <a:lnTo>
                    <a:pt x="1721" y="2331"/>
                  </a:lnTo>
                  <a:lnTo>
                    <a:pt x="1720" y="2299"/>
                  </a:lnTo>
                  <a:lnTo>
                    <a:pt x="1721" y="2267"/>
                  </a:lnTo>
                  <a:lnTo>
                    <a:pt x="1723" y="2235"/>
                  </a:lnTo>
                  <a:lnTo>
                    <a:pt x="1726" y="2203"/>
                  </a:lnTo>
                  <a:lnTo>
                    <a:pt x="1730" y="2172"/>
                  </a:lnTo>
                  <a:lnTo>
                    <a:pt x="1740" y="2112"/>
                  </a:lnTo>
                  <a:lnTo>
                    <a:pt x="1749" y="2057"/>
                  </a:lnTo>
                  <a:lnTo>
                    <a:pt x="2204" y="0"/>
                  </a:lnTo>
                  <a:lnTo>
                    <a:pt x="2102" y="5"/>
                  </a:lnTo>
                  <a:lnTo>
                    <a:pt x="1999" y="11"/>
                  </a:lnTo>
                  <a:lnTo>
                    <a:pt x="1895" y="17"/>
                  </a:lnTo>
                  <a:lnTo>
                    <a:pt x="1790" y="22"/>
                  </a:lnTo>
                  <a:lnTo>
                    <a:pt x="1687" y="28"/>
                  </a:lnTo>
                  <a:lnTo>
                    <a:pt x="1582" y="33"/>
                  </a:lnTo>
                  <a:lnTo>
                    <a:pt x="1477" y="39"/>
                  </a:lnTo>
                  <a:lnTo>
                    <a:pt x="1372" y="46"/>
                  </a:lnTo>
                  <a:lnTo>
                    <a:pt x="1267" y="52"/>
                  </a:lnTo>
                  <a:lnTo>
                    <a:pt x="1161" y="59"/>
                  </a:lnTo>
                  <a:lnTo>
                    <a:pt x="1056" y="65"/>
                  </a:lnTo>
                  <a:lnTo>
                    <a:pt x="950" y="71"/>
                  </a:lnTo>
                  <a:lnTo>
                    <a:pt x="845" y="79"/>
                  </a:lnTo>
                  <a:lnTo>
                    <a:pt x="739" y="86"/>
                  </a:lnTo>
                  <a:lnTo>
                    <a:pt x="633" y="93"/>
                  </a:lnTo>
                  <a:lnTo>
                    <a:pt x="528" y="100"/>
                  </a:lnTo>
                  <a:lnTo>
                    <a:pt x="501" y="218"/>
                  </a:lnTo>
                  <a:lnTo>
                    <a:pt x="474" y="336"/>
                  </a:lnTo>
                  <a:lnTo>
                    <a:pt x="446" y="456"/>
                  </a:lnTo>
                  <a:lnTo>
                    <a:pt x="419" y="576"/>
                  </a:lnTo>
                  <a:lnTo>
                    <a:pt x="391" y="698"/>
                  </a:lnTo>
                  <a:lnTo>
                    <a:pt x="362" y="820"/>
                  </a:lnTo>
                  <a:lnTo>
                    <a:pt x="334" y="944"/>
                  </a:lnTo>
                  <a:lnTo>
                    <a:pt x="306" y="1068"/>
                  </a:lnTo>
                  <a:lnTo>
                    <a:pt x="277" y="1193"/>
                  </a:lnTo>
                  <a:lnTo>
                    <a:pt x="248" y="1318"/>
                  </a:lnTo>
                  <a:lnTo>
                    <a:pt x="219" y="1444"/>
                  </a:lnTo>
                  <a:lnTo>
                    <a:pt x="190" y="1570"/>
                  </a:lnTo>
                  <a:lnTo>
                    <a:pt x="161" y="1696"/>
                  </a:lnTo>
                  <a:lnTo>
                    <a:pt x="132" y="1823"/>
                  </a:lnTo>
                  <a:lnTo>
                    <a:pt x="103" y="1950"/>
                  </a:lnTo>
                  <a:lnTo>
                    <a:pt x="73" y="2077"/>
                  </a:lnTo>
                  <a:lnTo>
                    <a:pt x="64" y="2120"/>
                  </a:lnTo>
                  <a:lnTo>
                    <a:pt x="55" y="2165"/>
                  </a:lnTo>
                  <a:lnTo>
                    <a:pt x="47" y="2209"/>
                  </a:lnTo>
                  <a:lnTo>
                    <a:pt x="38" y="2255"/>
                  </a:lnTo>
                  <a:lnTo>
                    <a:pt x="31" y="2299"/>
                  </a:lnTo>
                  <a:lnTo>
                    <a:pt x="24" y="2344"/>
                  </a:lnTo>
                  <a:lnTo>
                    <a:pt x="18" y="2389"/>
                  </a:lnTo>
                  <a:lnTo>
                    <a:pt x="12" y="2434"/>
                  </a:lnTo>
                  <a:lnTo>
                    <a:pt x="8" y="2480"/>
                  </a:lnTo>
                  <a:lnTo>
                    <a:pt x="5" y="2524"/>
                  </a:lnTo>
                  <a:lnTo>
                    <a:pt x="2" y="2570"/>
                  </a:lnTo>
                  <a:lnTo>
                    <a:pt x="1" y="2614"/>
                  </a:lnTo>
                  <a:lnTo>
                    <a:pt x="0" y="2659"/>
                  </a:lnTo>
                  <a:lnTo>
                    <a:pt x="1" y="2704"/>
                  </a:lnTo>
                  <a:lnTo>
                    <a:pt x="2" y="2748"/>
                  </a:lnTo>
                  <a:lnTo>
                    <a:pt x="5" y="2793"/>
                  </a:lnTo>
                  <a:lnTo>
                    <a:pt x="9" y="2837"/>
                  </a:lnTo>
                  <a:lnTo>
                    <a:pt x="13" y="2880"/>
                  </a:lnTo>
                  <a:lnTo>
                    <a:pt x="21" y="2924"/>
                  </a:lnTo>
                  <a:lnTo>
                    <a:pt x="28" y="2967"/>
                  </a:lnTo>
                  <a:lnTo>
                    <a:pt x="37" y="3010"/>
                  </a:lnTo>
                  <a:lnTo>
                    <a:pt x="48" y="3052"/>
                  </a:lnTo>
                  <a:lnTo>
                    <a:pt x="59" y="3093"/>
                  </a:lnTo>
                  <a:lnTo>
                    <a:pt x="72" y="3135"/>
                  </a:lnTo>
                  <a:lnTo>
                    <a:pt x="87" y="3176"/>
                  </a:lnTo>
                  <a:lnTo>
                    <a:pt x="103" y="3216"/>
                  </a:lnTo>
                  <a:lnTo>
                    <a:pt x="121" y="3255"/>
                  </a:lnTo>
                  <a:lnTo>
                    <a:pt x="141" y="3295"/>
                  </a:lnTo>
                  <a:lnTo>
                    <a:pt x="162" y="3333"/>
                  </a:lnTo>
                  <a:lnTo>
                    <a:pt x="185" y="3370"/>
                  </a:lnTo>
                  <a:lnTo>
                    <a:pt x="210" y="3407"/>
                  </a:lnTo>
                  <a:lnTo>
                    <a:pt x="236" y="3443"/>
                  </a:lnTo>
                  <a:lnTo>
                    <a:pt x="255" y="3466"/>
                  </a:lnTo>
                  <a:lnTo>
                    <a:pt x="274" y="3488"/>
                  </a:lnTo>
                  <a:lnTo>
                    <a:pt x="294" y="3509"/>
                  </a:lnTo>
                  <a:lnTo>
                    <a:pt x="315" y="3531"/>
                  </a:lnTo>
                  <a:lnTo>
                    <a:pt x="336" y="3552"/>
                  </a:lnTo>
                  <a:lnTo>
                    <a:pt x="358" y="3572"/>
                  </a:lnTo>
                  <a:lnTo>
                    <a:pt x="382" y="3593"/>
                  </a:lnTo>
                  <a:lnTo>
                    <a:pt x="406" y="3612"/>
                  </a:lnTo>
                  <a:lnTo>
                    <a:pt x="431" y="3631"/>
                  </a:lnTo>
                  <a:lnTo>
                    <a:pt x="456" y="3650"/>
                  </a:lnTo>
                  <a:lnTo>
                    <a:pt x="483" y="3667"/>
                  </a:lnTo>
                  <a:lnTo>
                    <a:pt x="510" y="3684"/>
                  </a:lnTo>
                  <a:lnTo>
                    <a:pt x="539" y="3700"/>
                  </a:lnTo>
                  <a:lnTo>
                    <a:pt x="568" y="3717"/>
                  </a:lnTo>
                  <a:lnTo>
                    <a:pt x="598" y="3732"/>
                  </a:lnTo>
                  <a:lnTo>
                    <a:pt x="630" y="3747"/>
                  </a:lnTo>
                  <a:lnTo>
                    <a:pt x="662" y="3760"/>
                  </a:lnTo>
                  <a:lnTo>
                    <a:pt x="695" y="3774"/>
                  </a:lnTo>
                  <a:lnTo>
                    <a:pt x="730" y="3786"/>
                  </a:lnTo>
                  <a:lnTo>
                    <a:pt x="766" y="3798"/>
                  </a:lnTo>
                  <a:lnTo>
                    <a:pt x="802" y="3808"/>
                  </a:lnTo>
                  <a:lnTo>
                    <a:pt x="839" y="3818"/>
                  </a:lnTo>
                  <a:lnTo>
                    <a:pt x="879" y="3827"/>
                  </a:lnTo>
                  <a:lnTo>
                    <a:pt x="918" y="3836"/>
                  </a:lnTo>
                  <a:lnTo>
                    <a:pt x="958" y="3843"/>
                  </a:lnTo>
                  <a:lnTo>
                    <a:pt x="1001" y="3849"/>
                  </a:lnTo>
                  <a:lnTo>
                    <a:pt x="1044" y="3854"/>
                  </a:lnTo>
                  <a:lnTo>
                    <a:pt x="1089" y="3860"/>
                  </a:lnTo>
                  <a:lnTo>
                    <a:pt x="1134" y="3863"/>
                  </a:lnTo>
                  <a:lnTo>
                    <a:pt x="1181" y="3866"/>
                  </a:lnTo>
                  <a:lnTo>
                    <a:pt x="1228" y="3867"/>
                  </a:lnTo>
                  <a:lnTo>
                    <a:pt x="1278" y="3868"/>
                  </a:lnTo>
                  <a:lnTo>
                    <a:pt x="1342" y="3867"/>
                  </a:lnTo>
                  <a:lnTo>
                    <a:pt x="1408" y="3866"/>
                  </a:lnTo>
                  <a:lnTo>
                    <a:pt x="1475" y="3865"/>
                  </a:lnTo>
                  <a:lnTo>
                    <a:pt x="1543" y="3862"/>
                  </a:lnTo>
                  <a:lnTo>
                    <a:pt x="1612" y="3858"/>
                  </a:lnTo>
                  <a:lnTo>
                    <a:pt x="1684" y="3854"/>
                  </a:lnTo>
                  <a:lnTo>
                    <a:pt x="1754" y="3848"/>
                  </a:lnTo>
                  <a:lnTo>
                    <a:pt x="1827" y="3842"/>
                  </a:lnTo>
                  <a:lnTo>
                    <a:pt x="1899" y="3834"/>
                  </a:lnTo>
                  <a:lnTo>
                    <a:pt x="1972" y="3824"/>
                  </a:lnTo>
                  <a:lnTo>
                    <a:pt x="2045" y="3814"/>
                  </a:lnTo>
                  <a:lnTo>
                    <a:pt x="2118" y="3802"/>
                  </a:lnTo>
                  <a:lnTo>
                    <a:pt x="2191" y="3787"/>
                  </a:lnTo>
                  <a:lnTo>
                    <a:pt x="2263" y="3772"/>
                  </a:lnTo>
                  <a:lnTo>
                    <a:pt x="2336" y="3754"/>
                  </a:lnTo>
                  <a:lnTo>
                    <a:pt x="2407" y="3736"/>
                  </a:lnTo>
                  <a:lnTo>
                    <a:pt x="2638" y="2615"/>
                  </a:lnTo>
                  <a:lnTo>
                    <a:pt x="2592" y="2620"/>
                  </a:lnTo>
                  <a:lnTo>
                    <a:pt x="2545" y="2623"/>
                  </a:lnTo>
                  <a:lnTo>
                    <a:pt x="2496" y="2627"/>
                  </a:lnTo>
                  <a:lnTo>
                    <a:pt x="2448" y="2631"/>
                  </a:lnTo>
                  <a:lnTo>
                    <a:pt x="2398" y="2634"/>
                  </a:lnTo>
                  <a:lnTo>
                    <a:pt x="2346" y="2636"/>
                  </a:lnTo>
                  <a:lnTo>
                    <a:pt x="2294" y="2637"/>
                  </a:lnTo>
                  <a:lnTo>
                    <a:pt x="2241" y="2637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15328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12192000" cy="6309320"/>
          </a:xfrm>
          <a:blipFill dpi="0" rotWithShape="1">
            <a:blip r:embed="rId2" cstate="print"/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3233716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April 2012 ▪ ista International GmbH ▪ AMM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 Folie </a:t>
            </a:r>
            <a:fld id="{B9CE935E-C6D0-489B-9F44-EA7286FAED9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6617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edit titl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1200151" y="1420814"/>
            <a:ext cx="10079567" cy="4668837"/>
          </a:xfrm>
        </p:spPr>
        <p:txBody>
          <a:bodyPr/>
          <a:lstStyle/>
          <a:p>
            <a:pPr lvl="0"/>
            <a:r>
              <a:rPr lang="en-GB" altLang="de-DE" noProof="0" dirty="0"/>
              <a:t>Click to edit text</a:t>
            </a:r>
          </a:p>
          <a:p>
            <a:pPr lvl="1"/>
            <a:r>
              <a:rPr lang="en-GB" altLang="de-DE" noProof="0" dirty="0"/>
              <a:t>Level 2</a:t>
            </a:r>
          </a:p>
          <a:p>
            <a:pPr lvl="2"/>
            <a:r>
              <a:rPr lang="en-GB" altLang="de-DE" noProof="0" dirty="0"/>
              <a:t>Level 3</a:t>
            </a:r>
          </a:p>
          <a:p>
            <a:pPr lvl="3"/>
            <a:r>
              <a:rPr lang="en-GB" altLang="de-DE" noProof="0" dirty="0"/>
              <a:t>Level 4</a:t>
            </a:r>
          </a:p>
          <a:p>
            <a:pPr lvl="4"/>
            <a:r>
              <a:rPr lang="en-GB" altLang="de-DE" noProof="0" dirty="0"/>
              <a:t>Level 5</a:t>
            </a:r>
          </a:p>
          <a:p>
            <a:pPr lvl="5"/>
            <a:r>
              <a:rPr lang="en-GB" altLang="de-DE" noProof="0" dirty="0"/>
              <a:t>Level 6</a:t>
            </a:r>
          </a:p>
          <a:p>
            <a:pPr lvl="6"/>
            <a:r>
              <a:rPr lang="en-GB" altLang="de-DE" noProof="0" dirty="0"/>
              <a:t>Level 7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altLang="de-DE" noProof="0" dirty="0"/>
              <a:t>Date ▪ name of speaker ▪ short title of presentation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en-GB" altLang="de-DE" noProof="0" dirty="0"/>
              <a:t>Slide </a:t>
            </a:r>
            <a:fld id="{C3B3C88A-3FAA-40A8-AD7B-A50BF5BD6E58}" type="slidenum">
              <a:rPr lang="en-GB" altLang="de-DE" noProof="0" smtClean="0"/>
              <a:pPr/>
              <a:t>‹#›</a:t>
            </a:fld>
            <a:endParaRPr lang="en-GB" altLang="de-DE" noProof="0" dirty="0"/>
          </a:p>
        </p:txBody>
      </p:sp>
    </p:spTree>
    <p:extLst>
      <p:ext uri="{BB962C8B-B14F-4D97-AF65-F5344CB8AC3E}">
        <p14:creationId xmlns:p14="http://schemas.microsoft.com/office/powerpoint/2010/main" val="14221930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D09C986A-4F2F-4398-A74A-DD93901F4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67808" y="4509224"/>
            <a:ext cx="6048671" cy="108001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edit subtitle</a:t>
            </a:r>
          </a:p>
          <a:p>
            <a:pPr lvl="1"/>
            <a:r>
              <a:rPr lang="en-GB" dirty="0"/>
              <a:t>Author | Position | Date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351584" y="1700213"/>
            <a:ext cx="8064896" cy="2521470"/>
          </a:xfrm>
        </p:spPr>
        <p:txBody>
          <a:bodyPr anchor="b"/>
          <a:lstStyle>
            <a:lvl1pPr algn="l">
              <a:defRPr sz="4800" b="0" i="0">
                <a:latin typeface="+mj-lt"/>
              </a:defRPr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7A2217-1D36-4031-BB0B-2D5532FBDE84}"/>
              </a:ext>
            </a:extLst>
          </p:cNvPr>
          <p:cNvSpPr/>
          <p:nvPr userDrawn="1"/>
        </p:nvSpPr>
        <p:spPr bwMode="gray">
          <a:xfrm>
            <a:off x="11568608" y="6092825"/>
            <a:ext cx="623392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0328A7C-B812-48E9-AF50-7823CAE81A4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88488" y="5949280"/>
            <a:ext cx="1224000" cy="533037"/>
            <a:chOff x="10267265" y="5877328"/>
            <a:chExt cx="1157327" cy="504000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E809D6B-696B-42B1-A667-65DDB0581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0053" y="5992722"/>
              <a:ext cx="144242" cy="110303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A57EDDB-998E-4859-B447-91E66826F2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8415" y="5989328"/>
              <a:ext cx="263029" cy="91636"/>
            </a:xfrm>
            <a:custGeom>
              <a:avLst/>
              <a:gdLst>
                <a:gd name="T0" fmla="*/ 1166 w 3567"/>
                <a:gd name="T1" fmla="*/ 1148 h 1249"/>
                <a:gd name="T2" fmla="*/ 1360 w 3567"/>
                <a:gd name="T3" fmla="*/ 1136 h 1249"/>
                <a:gd name="T4" fmla="*/ 1590 w 3567"/>
                <a:gd name="T5" fmla="*/ 1125 h 1249"/>
                <a:gd name="T6" fmla="*/ 1852 w 3567"/>
                <a:gd name="T7" fmla="*/ 1114 h 1249"/>
                <a:gd name="T8" fmla="*/ 2143 w 3567"/>
                <a:gd name="T9" fmla="*/ 1104 h 1249"/>
                <a:gd name="T10" fmla="*/ 2461 w 3567"/>
                <a:gd name="T11" fmla="*/ 1095 h 1249"/>
                <a:gd name="T12" fmla="*/ 2803 w 3567"/>
                <a:gd name="T13" fmla="*/ 1085 h 1249"/>
                <a:gd name="T14" fmla="*/ 3166 w 3567"/>
                <a:gd name="T15" fmla="*/ 1077 h 1249"/>
                <a:gd name="T16" fmla="*/ 3372 w 3567"/>
                <a:gd name="T17" fmla="*/ 991 h 1249"/>
                <a:gd name="T18" fmla="*/ 3408 w 3567"/>
                <a:gd name="T19" fmla="*/ 822 h 1249"/>
                <a:gd name="T20" fmla="*/ 3444 w 3567"/>
                <a:gd name="T21" fmla="*/ 652 h 1249"/>
                <a:gd name="T22" fmla="*/ 3480 w 3567"/>
                <a:gd name="T23" fmla="*/ 490 h 1249"/>
                <a:gd name="T24" fmla="*/ 3510 w 3567"/>
                <a:gd name="T25" fmla="*/ 343 h 1249"/>
                <a:gd name="T26" fmla="*/ 3536 w 3567"/>
                <a:gd name="T27" fmla="*/ 220 h 1249"/>
                <a:gd name="T28" fmla="*/ 3555 w 3567"/>
                <a:gd name="T29" fmla="*/ 130 h 1249"/>
                <a:gd name="T30" fmla="*/ 3565 w 3567"/>
                <a:gd name="T31" fmla="*/ 82 h 1249"/>
                <a:gd name="T32" fmla="*/ 3561 w 3567"/>
                <a:gd name="T33" fmla="*/ 74 h 1249"/>
                <a:gd name="T34" fmla="*/ 3522 w 3567"/>
                <a:gd name="T35" fmla="*/ 66 h 1249"/>
                <a:gd name="T36" fmla="*/ 3441 w 3567"/>
                <a:gd name="T37" fmla="*/ 54 h 1249"/>
                <a:gd name="T38" fmla="*/ 3319 w 3567"/>
                <a:gd name="T39" fmla="*/ 38 h 1249"/>
                <a:gd name="T40" fmla="*/ 3155 w 3567"/>
                <a:gd name="T41" fmla="*/ 23 h 1249"/>
                <a:gd name="T42" fmla="*/ 2947 w 3567"/>
                <a:gd name="T43" fmla="*/ 10 h 1249"/>
                <a:gd name="T44" fmla="*/ 2695 w 3567"/>
                <a:gd name="T45" fmla="*/ 2 h 1249"/>
                <a:gd name="T46" fmla="*/ 2476 w 3567"/>
                <a:gd name="T47" fmla="*/ 0 h 1249"/>
                <a:gd name="T48" fmla="*/ 2315 w 3567"/>
                <a:gd name="T49" fmla="*/ 1 h 1249"/>
                <a:gd name="T50" fmla="*/ 2127 w 3567"/>
                <a:gd name="T51" fmla="*/ 7 h 1249"/>
                <a:gd name="T52" fmla="*/ 1923 w 3567"/>
                <a:gd name="T53" fmla="*/ 24 h 1249"/>
                <a:gd name="T54" fmla="*/ 1726 w 3567"/>
                <a:gd name="T55" fmla="*/ 52 h 1249"/>
                <a:gd name="T56" fmla="*/ 1538 w 3567"/>
                <a:gd name="T57" fmla="*/ 90 h 1249"/>
                <a:gd name="T58" fmla="*/ 1358 w 3567"/>
                <a:gd name="T59" fmla="*/ 138 h 1249"/>
                <a:gd name="T60" fmla="*/ 1186 w 3567"/>
                <a:gd name="T61" fmla="*/ 196 h 1249"/>
                <a:gd name="T62" fmla="*/ 1024 w 3567"/>
                <a:gd name="T63" fmla="*/ 262 h 1249"/>
                <a:gd name="T64" fmla="*/ 869 w 3567"/>
                <a:gd name="T65" fmla="*/ 338 h 1249"/>
                <a:gd name="T66" fmla="*/ 727 w 3567"/>
                <a:gd name="T67" fmla="*/ 421 h 1249"/>
                <a:gd name="T68" fmla="*/ 593 w 3567"/>
                <a:gd name="T69" fmla="*/ 511 h 1249"/>
                <a:gd name="T70" fmla="*/ 470 w 3567"/>
                <a:gd name="T71" fmla="*/ 609 h 1249"/>
                <a:gd name="T72" fmla="*/ 358 w 3567"/>
                <a:gd name="T73" fmla="*/ 714 h 1249"/>
                <a:gd name="T74" fmla="*/ 257 w 3567"/>
                <a:gd name="T75" fmla="*/ 824 h 1249"/>
                <a:gd name="T76" fmla="*/ 168 w 3567"/>
                <a:gd name="T77" fmla="*/ 939 h 1249"/>
                <a:gd name="T78" fmla="*/ 91 w 3567"/>
                <a:gd name="T79" fmla="*/ 1060 h 1249"/>
                <a:gd name="T80" fmla="*/ 27 w 3567"/>
                <a:gd name="T81" fmla="*/ 1185 h 1249"/>
                <a:gd name="T82" fmla="*/ 67 w 3567"/>
                <a:gd name="T83" fmla="*/ 1242 h 1249"/>
                <a:gd name="T84" fmla="*/ 201 w 3567"/>
                <a:gd name="T85" fmla="*/ 1231 h 1249"/>
                <a:gd name="T86" fmla="*/ 335 w 3567"/>
                <a:gd name="T87" fmla="*/ 1219 h 1249"/>
                <a:gd name="T88" fmla="*/ 471 w 3567"/>
                <a:gd name="T89" fmla="*/ 1206 h 1249"/>
                <a:gd name="T90" fmla="*/ 605 w 3567"/>
                <a:gd name="T91" fmla="*/ 1195 h 1249"/>
                <a:gd name="T92" fmla="*/ 742 w 3567"/>
                <a:gd name="T93" fmla="*/ 1182 h 1249"/>
                <a:gd name="T94" fmla="*/ 879 w 3567"/>
                <a:gd name="T95" fmla="*/ 1171 h 1249"/>
                <a:gd name="T96" fmla="*/ 1015 w 3567"/>
                <a:gd name="T97" fmla="*/ 116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7" h="1249">
                  <a:moveTo>
                    <a:pt x="1084" y="1155"/>
                  </a:moveTo>
                  <a:lnTo>
                    <a:pt x="1166" y="1148"/>
                  </a:lnTo>
                  <a:lnTo>
                    <a:pt x="1259" y="1142"/>
                  </a:lnTo>
                  <a:lnTo>
                    <a:pt x="1360" y="1136"/>
                  </a:lnTo>
                  <a:lnTo>
                    <a:pt x="1471" y="1130"/>
                  </a:lnTo>
                  <a:lnTo>
                    <a:pt x="1590" y="1125"/>
                  </a:lnTo>
                  <a:lnTo>
                    <a:pt x="1717" y="1119"/>
                  </a:lnTo>
                  <a:lnTo>
                    <a:pt x="1852" y="1114"/>
                  </a:lnTo>
                  <a:lnTo>
                    <a:pt x="1994" y="1109"/>
                  </a:lnTo>
                  <a:lnTo>
                    <a:pt x="2143" y="1104"/>
                  </a:lnTo>
                  <a:lnTo>
                    <a:pt x="2299" y="1099"/>
                  </a:lnTo>
                  <a:lnTo>
                    <a:pt x="2461" y="1095"/>
                  </a:lnTo>
                  <a:lnTo>
                    <a:pt x="2630" y="1091"/>
                  </a:lnTo>
                  <a:lnTo>
                    <a:pt x="2803" y="1085"/>
                  </a:lnTo>
                  <a:lnTo>
                    <a:pt x="2982" y="1081"/>
                  </a:lnTo>
                  <a:lnTo>
                    <a:pt x="3166" y="1077"/>
                  </a:lnTo>
                  <a:lnTo>
                    <a:pt x="3354" y="1074"/>
                  </a:lnTo>
                  <a:lnTo>
                    <a:pt x="3372" y="991"/>
                  </a:lnTo>
                  <a:lnTo>
                    <a:pt x="3390" y="908"/>
                  </a:lnTo>
                  <a:lnTo>
                    <a:pt x="3408" y="822"/>
                  </a:lnTo>
                  <a:lnTo>
                    <a:pt x="3427" y="736"/>
                  </a:lnTo>
                  <a:lnTo>
                    <a:pt x="3444" y="652"/>
                  </a:lnTo>
                  <a:lnTo>
                    <a:pt x="3462" y="569"/>
                  </a:lnTo>
                  <a:lnTo>
                    <a:pt x="3480" y="490"/>
                  </a:lnTo>
                  <a:lnTo>
                    <a:pt x="3495" y="413"/>
                  </a:lnTo>
                  <a:lnTo>
                    <a:pt x="3510" y="343"/>
                  </a:lnTo>
                  <a:lnTo>
                    <a:pt x="3524" y="278"/>
                  </a:lnTo>
                  <a:lnTo>
                    <a:pt x="3536" y="220"/>
                  </a:lnTo>
                  <a:lnTo>
                    <a:pt x="3546" y="170"/>
                  </a:lnTo>
                  <a:lnTo>
                    <a:pt x="3555" y="130"/>
                  </a:lnTo>
                  <a:lnTo>
                    <a:pt x="3561" y="100"/>
                  </a:lnTo>
                  <a:lnTo>
                    <a:pt x="3565" y="82"/>
                  </a:lnTo>
                  <a:lnTo>
                    <a:pt x="3567" y="75"/>
                  </a:lnTo>
                  <a:lnTo>
                    <a:pt x="3561" y="74"/>
                  </a:lnTo>
                  <a:lnTo>
                    <a:pt x="3547" y="71"/>
                  </a:lnTo>
                  <a:lnTo>
                    <a:pt x="3522" y="66"/>
                  </a:lnTo>
                  <a:lnTo>
                    <a:pt x="3487" y="61"/>
                  </a:lnTo>
                  <a:lnTo>
                    <a:pt x="3441" y="54"/>
                  </a:lnTo>
                  <a:lnTo>
                    <a:pt x="3385" y="46"/>
                  </a:lnTo>
                  <a:lnTo>
                    <a:pt x="3319" y="38"/>
                  </a:lnTo>
                  <a:lnTo>
                    <a:pt x="3243" y="31"/>
                  </a:lnTo>
                  <a:lnTo>
                    <a:pt x="3155" y="23"/>
                  </a:lnTo>
                  <a:lnTo>
                    <a:pt x="3056" y="17"/>
                  </a:lnTo>
                  <a:lnTo>
                    <a:pt x="2947" y="10"/>
                  </a:lnTo>
                  <a:lnTo>
                    <a:pt x="2827" y="5"/>
                  </a:lnTo>
                  <a:lnTo>
                    <a:pt x="2695" y="2"/>
                  </a:lnTo>
                  <a:lnTo>
                    <a:pt x="2551" y="0"/>
                  </a:lnTo>
                  <a:lnTo>
                    <a:pt x="2476" y="0"/>
                  </a:lnTo>
                  <a:lnTo>
                    <a:pt x="2397" y="0"/>
                  </a:lnTo>
                  <a:lnTo>
                    <a:pt x="2315" y="1"/>
                  </a:lnTo>
                  <a:lnTo>
                    <a:pt x="2231" y="3"/>
                  </a:lnTo>
                  <a:lnTo>
                    <a:pt x="2127" y="7"/>
                  </a:lnTo>
                  <a:lnTo>
                    <a:pt x="2024" y="14"/>
                  </a:lnTo>
                  <a:lnTo>
                    <a:pt x="1923" y="24"/>
                  </a:lnTo>
                  <a:lnTo>
                    <a:pt x="1824" y="36"/>
                  </a:lnTo>
                  <a:lnTo>
                    <a:pt x="1726" y="52"/>
                  </a:lnTo>
                  <a:lnTo>
                    <a:pt x="1631" y="69"/>
                  </a:lnTo>
                  <a:lnTo>
                    <a:pt x="1538" y="90"/>
                  </a:lnTo>
                  <a:lnTo>
                    <a:pt x="1447" y="113"/>
                  </a:lnTo>
                  <a:lnTo>
                    <a:pt x="1358" y="138"/>
                  </a:lnTo>
                  <a:lnTo>
                    <a:pt x="1271" y="165"/>
                  </a:lnTo>
                  <a:lnTo>
                    <a:pt x="1186" y="196"/>
                  </a:lnTo>
                  <a:lnTo>
                    <a:pt x="1103" y="228"/>
                  </a:lnTo>
                  <a:lnTo>
                    <a:pt x="1024" y="262"/>
                  </a:lnTo>
                  <a:lnTo>
                    <a:pt x="945" y="299"/>
                  </a:lnTo>
                  <a:lnTo>
                    <a:pt x="869" y="338"/>
                  </a:lnTo>
                  <a:lnTo>
                    <a:pt x="797" y="378"/>
                  </a:lnTo>
                  <a:lnTo>
                    <a:pt x="727" y="421"/>
                  </a:lnTo>
                  <a:lnTo>
                    <a:pt x="658" y="466"/>
                  </a:lnTo>
                  <a:lnTo>
                    <a:pt x="593" y="511"/>
                  </a:lnTo>
                  <a:lnTo>
                    <a:pt x="530" y="560"/>
                  </a:lnTo>
                  <a:lnTo>
                    <a:pt x="470" y="609"/>
                  </a:lnTo>
                  <a:lnTo>
                    <a:pt x="412" y="661"/>
                  </a:lnTo>
                  <a:lnTo>
                    <a:pt x="358" y="714"/>
                  </a:lnTo>
                  <a:lnTo>
                    <a:pt x="306" y="767"/>
                  </a:lnTo>
                  <a:lnTo>
                    <a:pt x="257" y="824"/>
                  </a:lnTo>
                  <a:lnTo>
                    <a:pt x="211" y="881"/>
                  </a:lnTo>
                  <a:lnTo>
                    <a:pt x="168" y="939"/>
                  </a:lnTo>
                  <a:lnTo>
                    <a:pt x="128" y="999"/>
                  </a:lnTo>
                  <a:lnTo>
                    <a:pt x="91" y="1060"/>
                  </a:lnTo>
                  <a:lnTo>
                    <a:pt x="58" y="1122"/>
                  </a:lnTo>
                  <a:lnTo>
                    <a:pt x="27" y="1185"/>
                  </a:lnTo>
                  <a:lnTo>
                    <a:pt x="0" y="1249"/>
                  </a:lnTo>
                  <a:lnTo>
                    <a:pt x="67" y="1242"/>
                  </a:lnTo>
                  <a:lnTo>
                    <a:pt x="134" y="1236"/>
                  </a:lnTo>
                  <a:lnTo>
                    <a:pt x="201" y="1231"/>
                  </a:lnTo>
                  <a:lnTo>
                    <a:pt x="268" y="1225"/>
                  </a:lnTo>
                  <a:lnTo>
                    <a:pt x="335" y="1219"/>
                  </a:lnTo>
                  <a:lnTo>
                    <a:pt x="403" y="1212"/>
                  </a:lnTo>
                  <a:lnTo>
                    <a:pt x="471" y="1206"/>
                  </a:lnTo>
                  <a:lnTo>
                    <a:pt x="538" y="1201"/>
                  </a:lnTo>
                  <a:lnTo>
                    <a:pt x="605" y="1195"/>
                  </a:lnTo>
                  <a:lnTo>
                    <a:pt x="674" y="1189"/>
                  </a:lnTo>
                  <a:lnTo>
                    <a:pt x="742" y="1182"/>
                  </a:lnTo>
                  <a:lnTo>
                    <a:pt x="810" y="1177"/>
                  </a:lnTo>
                  <a:lnTo>
                    <a:pt x="879" y="1171"/>
                  </a:lnTo>
                  <a:lnTo>
                    <a:pt x="946" y="1166"/>
                  </a:lnTo>
                  <a:lnTo>
                    <a:pt x="1015" y="1160"/>
                  </a:lnTo>
                  <a:lnTo>
                    <a:pt x="1084" y="1155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2CF9552-47FC-4FC1-B727-E5A8C822D0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9322" y="5877328"/>
              <a:ext cx="212120" cy="190061"/>
            </a:xfrm>
            <a:custGeom>
              <a:avLst/>
              <a:gdLst>
                <a:gd name="T0" fmla="*/ 2646 w 2867"/>
                <a:gd name="T1" fmla="*/ 2542 h 2571"/>
                <a:gd name="T2" fmla="*/ 2867 w 2867"/>
                <a:gd name="T3" fmla="*/ 1557 h 2571"/>
                <a:gd name="T4" fmla="*/ 1877 w 2867"/>
                <a:gd name="T5" fmla="*/ 1557 h 2571"/>
                <a:gd name="T6" fmla="*/ 1920 w 2867"/>
                <a:gd name="T7" fmla="*/ 1361 h 2571"/>
                <a:gd name="T8" fmla="*/ 1960 w 2867"/>
                <a:gd name="T9" fmla="*/ 1182 h 2571"/>
                <a:gd name="T10" fmla="*/ 1996 w 2867"/>
                <a:gd name="T11" fmla="*/ 1019 h 2571"/>
                <a:gd name="T12" fmla="*/ 2029 w 2867"/>
                <a:gd name="T13" fmla="*/ 872 h 2571"/>
                <a:gd name="T14" fmla="*/ 2060 w 2867"/>
                <a:gd name="T15" fmla="*/ 739 h 2571"/>
                <a:gd name="T16" fmla="*/ 2087 w 2867"/>
                <a:gd name="T17" fmla="*/ 621 h 2571"/>
                <a:gd name="T18" fmla="*/ 2111 w 2867"/>
                <a:gd name="T19" fmla="*/ 514 h 2571"/>
                <a:gd name="T20" fmla="*/ 2133 w 2867"/>
                <a:gd name="T21" fmla="*/ 420 h 2571"/>
                <a:gd name="T22" fmla="*/ 2152 w 2867"/>
                <a:gd name="T23" fmla="*/ 338 h 2571"/>
                <a:gd name="T24" fmla="*/ 2169 w 2867"/>
                <a:gd name="T25" fmla="*/ 264 h 2571"/>
                <a:gd name="T26" fmla="*/ 2183 w 2867"/>
                <a:gd name="T27" fmla="*/ 201 h 2571"/>
                <a:gd name="T28" fmla="*/ 2196 w 2867"/>
                <a:gd name="T29" fmla="*/ 148 h 2571"/>
                <a:gd name="T30" fmla="*/ 2206 w 2867"/>
                <a:gd name="T31" fmla="*/ 101 h 2571"/>
                <a:gd name="T32" fmla="*/ 2215 w 2867"/>
                <a:gd name="T33" fmla="*/ 62 h 2571"/>
                <a:gd name="T34" fmla="*/ 2222 w 2867"/>
                <a:gd name="T35" fmla="*/ 28 h 2571"/>
                <a:gd name="T36" fmla="*/ 2228 w 2867"/>
                <a:gd name="T37" fmla="*/ 0 h 2571"/>
                <a:gd name="T38" fmla="*/ 512 w 2867"/>
                <a:gd name="T39" fmla="*/ 331 h 2571"/>
                <a:gd name="T40" fmla="*/ 509 w 2867"/>
                <a:gd name="T41" fmla="*/ 343 h 2571"/>
                <a:gd name="T42" fmla="*/ 501 w 2867"/>
                <a:gd name="T43" fmla="*/ 375 h 2571"/>
                <a:gd name="T44" fmla="*/ 490 w 2867"/>
                <a:gd name="T45" fmla="*/ 428 h 2571"/>
                <a:gd name="T46" fmla="*/ 473 w 2867"/>
                <a:gd name="T47" fmla="*/ 501 h 2571"/>
                <a:gd name="T48" fmla="*/ 453 w 2867"/>
                <a:gd name="T49" fmla="*/ 592 h 2571"/>
                <a:gd name="T50" fmla="*/ 428 w 2867"/>
                <a:gd name="T51" fmla="*/ 700 h 2571"/>
                <a:gd name="T52" fmla="*/ 399 w 2867"/>
                <a:gd name="T53" fmla="*/ 826 h 2571"/>
                <a:gd name="T54" fmla="*/ 367 w 2867"/>
                <a:gd name="T55" fmla="*/ 968 h 2571"/>
                <a:gd name="T56" fmla="*/ 331 w 2867"/>
                <a:gd name="T57" fmla="*/ 1125 h 2571"/>
                <a:gd name="T58" fmla="*/ 291 w 2867"/>
                <a:gd name="T59" fmla="*/ 1296 h 2571"/>
                <a:gd name="T60" fmla="*/ 250 w 2867"/>
                <a:gd name="T61" fmla="*/ 1481 h 2571"/>
                <a:gd name="T62" fmla="*/ 204 w 2867"/>
                <a:gd name="T63" fmla="*/ 1677 h 2571"/>
                <a:gd name="T64" fmla="*/ 157 w 2867"/>
                <a:gd name="T65" fmla="*/ 1886 h 2571"/>
                <a:gd name="T66" fmla="*/ 107 w 2867"/>
                <a:gd name="T67" fmla="*/ 2105 h 2571"/>
                <a:gd name="T68" fmla="*/ 54 w 2867"/>
                <a:gd name="T69" fmla="*/ 2334 h 2571"/>
                <a:gd name="T70" fmla="*/ 0 w 2867"/>
                <a:gd name="T71" fmla="*/ 2571 h 2571"/>
                <a:gd name="T72" fmla="*/ 164 w 2867"/>
                <a:gd name="T73" fmla="*/ 2569 h 2571"/>
                <a:gd name="T74" fmla="*/ 328 w 2867"/>
                <a:gd name="T75" fmla="*/ 2566 h 2571"/>
                <a:gd name="T76" fmla="*/ 493 w 2867"/>
                <a:gd name="T77" fmla="*/ 2564 h 2571"/>
                <a:gd name="T78" fmla="*/ 660 w 2867"/>
                <a:gd name="T79" fmla="*/ 2562 h 2571"/>
                <a:gd name="T80" fmla="*/ 826 w 2867"/>
                <a:gd name="T81" fmla="*/ 2560 h 2571"/>
                <a:gd name="T82" fmla="*/ 993 w 2867"/>
                <a:gd name="T83" fmla="*/ 2558 h 2571"/>
                <a:gd name="T84" fmla="*/ 1161 w 2867"/>
                <a:gd name="T85" fmla="*/ 2556 h 2571"/>
                <a:gd name="T86" fmla="*/ 1327 w 2867"/>
                <a:gd name="T87" fmla="*/ 2555 h 2571"/>
                <a:gd name="T88" fmla="*/ 1495 w 2867"/>
                <a:gd name="T89" fmla="*/ 2553 h 2571"/>
                <a:gd name="T90" fmla="*/ 1662 w 2867"/>
                <a:gd name="T91" fmla="*/ 2551 h 2571"/>
                <a:gd name="T92" fmla="*/ 1828 w 2867"/>
                <a:gd name="T93" fmla="*/ 2550 h 2571"/>
                <a:gd name="T94" fmla="*/ 1994 w 2867"/>
                <a:gd name="T95" fmla="*/ 2548 h 2571"/>
                <a:gd name="T96" fmla="*/ 2158 w 2867"/>
                <a:gd name="T97" fmla="*/ 2547 h 2571"/>
                <a:gd name="T98" fmla="*/ 2322 w 2867"/>
                <a:gd name="T99" fmla="*/ 2545 h 2571"/>
                <a:gd name="T100" fmla="*/ 2484 w 2867"/>
                <a:gd name="T101" fmla="*/ 2544 h 2571"/>
                <a:gd name="T102" fmla="*/ 2646 w 2867"/>
                <a:gd name="T103" fmla="*/ 2542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7" h="2571">
                  <a:moveTo>
                    <a:pt x="2646" y="2542"/>
                  </a:moveTo>
                  <a:lnTo>
                    <a:pt x="2867" y="1557"/>
                  </a:lnTo>
                  <a:lnTo>
                    <a:pt x="1877" y="1557"/>
                  </a:lnTo>
                  <a:lnTo>
                    <a:pt x="1920" y="1361"/>
                  </a:lnTo>
                  <a:lnTo>
                    <a:pt x="1960" y="1182"/>
                  </a:lnTo>
                  <a:lnTo>
                    <a:pt x="1996" y="1019"/>
                  </a:lnTo>
                  <a:lnTo>
                    <a:pt x="2029" y="872"/>
                  </a:lnTo>
                  <a:lnTo>
                    <a:pt x="2060" y="739"/>
                  </a:lnTo>
                  <a:lnTo>
                    <a:pt x="2087" y="621"/>
                  </a:lnTo>
                  <a:lnTo>
                    <a:pt x="2111" y="514"/>
                  </a:lnTo>
                  <a:lnTo>
                    <a:pt x="2133" y="420"/>
                  </a:lnTo>
                  <a:lnTo>
                    <a:pt x="2152" y="338"/>
                  </a:lnTo>
                  <a:lnTo>
                    <a:pt x="2169" y="264"/>
                  </a:lnTo>
                  <a:lnTo>
                    <a:pt x="2183" y="201"/>
                  </a:lnTo>
                  <a:lnTo>
                    <a:pt x="2196" y="148"/>
                  </a:lnTo>
                  <a:lnTo>
                    <a:pt x="2206" y="101"/>
                  </a:lnTo>
                  <a:lnTo>
                    <a:pt x="2215" y="62"/>
                  </a:lnTo>
                  <a:lnTo>
                    <a:pt x="2222" y="28"/>
                  </a:lnTo>
                  <a:lnTo>
                    <a:pt x="2228" y="0"/>
                  </a:lnTo>
                  <a:lnTo>
                    <a:pt x="512" y="331"/>
                  </a:lnTo>
                  <a:lnTo>
                    <a:pt x="509" y="343"/>
                  </a:lnTo>
                  <a:lnTo>
                    <a:pt x="501" y="375"/>
                  </a:lnTo>
                  <a:lnTo>
                    <a:pt x="490" y="428"/>
                  </a:lnTo>
                  <a:lnTo>
                    <a:pt x="473" y="501"/>
                  </a:lnTo>
                  <a:lnTo>
                    <a:pt x="453" y="592"/>
                  </a:lnTo>
                  <a:lnTo>
                    <a:pt x="428" y="700"/>
                  </a:lnTo>
                  <a:lnTo>
                    <a:pt x="399" y="826"/>
                  </a:lnTo>
                  <a:lnTo>
                    <a:pt x="367" y="968"/>
                  </a:lnTo>
                  <a:lnTo>
                    <a:pt x="331" y="1125"/>
                  </a:lnTo>
                  <a:lnTo>
                    <a:pt x="291" y="1296"/>
                  </a:lnTo>
                  <a:lnTo>
                    <a:pt x="250" y="1481"/>
                  </a:lnTo>
                  <a:lnTo>
                    <a:pt x="204" y="1677"/>
                  </a:lnTo>
                  <a:lnTo>
                    <a:pt x="157" y="1886"/>
                  </a:lnTo>
                  <a:lnTo>
                    <a:pt x="107" y="2105"/>
                  </a:lnTo>
                  <a:lnTo>
                    <a:pt x="54" y="2334"/>
                  </a:lnTo>
                  <a:lnTo>
                    <a:pt x="0" y="2571"/>
                  </a:lnTo>
                  <a:lnTo>
                    <a:pt x="164" y="2569"/>
                  </a:lnTo>
                  <a:lnTo>
                    <a:pt x="328" y="2566"/>
                  </a:lnTo>
                  <a:lnTo>
                    <a:pt x="493" y="2564"/>
                  </a:lnTo>
                  <a:lnTo>
                    <a:pt x="660" y="2562"/>
                  </a:lnTo>
                  <a:lnTo>
                    <a:pt x="826" y="2560"/>
                  </a:lnTo>
                  <a:lnTo>
                    <a:pt x="993" y="2558"/>
                  </a:lnTo>
                  <a:lnTo>
                    <a:pt x="1161" y="2556"/>
                  </a:lnTo>
                  <a:lnTo>
                    <a:pt x="1327" y="2555"/>
                  </a:lnTo>
                  <a:lnTo>
                    <a:pt x="1495" y="2553"/>
                  </a:lnTo>
                  <a:lnTo>
                    <a:pt x="1662" y="2551"/>
                  </a:lnTo>
                  <a:lnTo>
                    <a:pt x="1828" y="2550"/>
                  </a:lnTo>
                  <a:lnTo>
                    <a:pt x="1994" y="2548"/>
                  </a:lnTo>
                  <a:lnTo>
                    <a:pt x="2158" y="2547"/>
                  </a:lnTo>
                  <a:lnTo>
                    <a:pt x="2322" y="2545"/>
                  </a:lnTo>
                  <a:lnTo>
                    <a:pt x="2484" y="2544"/>
                  </a:lnTo>
                  <a:lnTo>
                    <a:pt x="2646" y="2542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97EA7B9D-762A-48D1-8356-0F87FA3AB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265" y="6159025"/>
              <a:ext cx="167999" cy="217212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BF819BEE-2DC8-42F3-A220-9DCCECD29F1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49564" y="5991025"/>
              <a:ext cx="375028" cy="390303"/>
            </a:xfrm>
            <a:custGeom>
              <a:avLst/>
              <a:gdLst>
                <a:gd name="T0" fmla="*/ 4466 w 5066"/>
                <a:gd name="T1" fmla="*/ 34 h 5294"/>
                <a:gd name="T2" fmla="*/ 3678 w 5066"/>
                <a:gd name="T3" fmla="*/ 3 h 5294"/>
                <a:gd name="T4" fmla="*/ 2963 w 5066"/>
                <a:gd name="T5" fmla="*/ 8 h 5294"/>
                <a:gd name="T6" fmla="*/ 2456 w 5066"/>
                <a:gd name="T7" fmla="*/ 64 h 5294"/>
                <a:gd name="T8" fmla="*/ 1996 w 5066"/>
                <a:gd name="T9" fmla="*/ 183 h 5294"/>
                <a:gd name="T10" fmla="*/ 1582 w 5066"/>
                <a:gd name="T11" fmla="*/ 368 h 5294"/>
                <a:gd name="T12" fmla="*/ 1216 w 5066"/>
                <a:gd name="T13" fmla="*/ 622 h 5294"/>
                <a:gd name="T14" fmla="*/ 895 w 5066"/>
                <a:gd name="T15" fmla="*/ 947 h 5294"/>
                <a:gd name="T16" fmla="*/ 2051 w 5066"/>
                <a:gd name="T17" fmla="*/ 1001 h 5294"/>
                <a:gd name="T18" fmla="*/ 3037 w 5066"/>
                <a:gd name="T19" fmla="*/ 998 h 5294"/>
                <a:gd name="T20" fmla="*/ 3293 w 5066"/>
                <a:gd name="T21" fmla="*/ 1144 h 5294"/>
                <a:gd name="T22" fmla="*/ 3058 w 5066"/>
                <a:gd name="T23" fmla="*/ 2155 h 5294"/>
                <a:gd name="T24" fmla="*/ 2848 w 5066"/>
                <a:gd name="T25" fmla="*/ 3110 h 5294"/>
                <a:gd name="T26" fmla="*/ 2785 w 5066"/>
                <a:gd name="T27" fmla="*/ 3421 h 5294"/>
                <a:gd name="T28" fmla="*/ 2624 w 5066"/>
                <a:gd name="T29" fmla="*/ 3638 h 5294"/>
                <a:gd name="T30" fmla="*/ 2496 w 5066"/>
                <a:gd name="T31" fmla="*/ 3760 h 5294"/>
                <a:gd name="T32" fmla="*/ 2340 w 5066"/>
                <a:gd name="T33" fmla="*/ 3861 h 5294"/>
                <a:gd name="T34" fmla="*/ 2151 w 5066"/>
                <a:gd name="T35" fmla="*/ 3924 h 5294"/>
                <a:gd name="T36" fmla="*/ 1941 w 5066"/>
                <a:gd name="T37" fmla="*/ 3933 h 5294"/>
                <a:gd name="T38" fmla="*/ 1787 w 5066"/>
                <a:gd name="T39" fmla="*/ 3881 h 5294"/>
                <a:gd name="T40" fmla="*/ 1688 w 5066"/>
                <a:gd name="T41" fmla="*/ 3781 h 5294"/>
                <a:gd name="T42" fmla="*/ 1631 w 5066"/>
                <a:gd name="T43" fmla="*/ 3646 h 5294"/>
                <a:gd name="T44" fmla="*/ 1606 w 5066"/>
                <a:gd name="T45" fmla="*/ 3488 h 5294"/>
                <a:gd name="T46" fmla="*/ 1611 w 5066"/>
                <a:gd name="T47" fmla="*/ 3188 h 5294"/>
                <a:gd name="T48" fmla="*/ 1659 w 5066"/>
                <a:gd name="T49" fmla="*/ 2763 h 5294"/>
                <a:gd name="T50" fmla="*/ 1748 w 5066"/>
                <a:gd name="T51" fmla="*/ 2329 h 5294"/>
                <a:gd name="T52" fmla="*/ 1879 w 5066"/>
                <a:gd name="T53" fmla="*/ 1919 h 5294"/>
                <a:gd name="T54" fmla="*/ 2053 w 5066"/>
                <a:gd name="T55" fmla="*/ 1564 h 5294"/>
                <a:gd name="T56" fmla="*/ 2272 w 5066"/>
                <a:gd name="T57" fmla="*/ 1295 h 5294"/>
                <a:gd name="T58" fmla="*/ 1725 w 5066"/>
                <a:gd name="T59" fmla="*/ 1309 h 5294"/>
                <a:gd name="T60" fmla="*/ 1087 w 5066"/>
                <a:gd name="T61" fmla="*/ 1326 h 5294"/>
                <a:gd name="T62" fmla="*/ 556 w 5066"/>
                <a:gd name="T63" fmla="*/ 1456 h 5294"/>
                <a:gd name="T64" fmla="*/ 378 w 5066"/>
                <a:gd name="T65" fmla="*/ 1828 h 5294"/>
                <a:gd name="T66" fmla="*/ 230 w 5066"/>
                <a:gd name="T67" fmla="*/ 2231 h 5294"/>
                <a:gd name="T68" fmla="*/ 117 w 5066"/>
                <a:gd name="T69" fmla="*/ 2662 h 5294"/>
                <a:gd name="T70" fmla="*/ 39 w 5066"/>
                <a:gd name="T71" fmla="*/ 3114 h 5294"/>
                <a:gd name="T72" fmla="*/ 1 w 5066"/>
                <a:gd name="T73" fmla="*/ 3582 h 5294"/>
                <a:gd name="T74" fmla="*/ 25 w 5066"/>
                <a:gd name="T75" fmla="*/ 4022 h 5294"/>
                <a:gd name="T76" fmla="*/ 135 w 5066"/>
                <a:gd name="T77" fmla="*/ 4458 h 5294"/>
                <a:gd name="T78" fmla="*/ 338 w 5066"/>
                <a:gd name="T79" fmla="*/ 4843 h 5294"/>
                <a:gd name="T80" fmla="*/ 640 w 5066"/>
                <a:gd name="T81" fmla="*/ 5133 h 5294"/>
                <a:gd name="T82" fmla="*/ 1051 w 5066"/>
                <a:gd name="T83" fmla="*/ 5283 h 5294"/>
                <a:gd name="T84" fmla="*/ 1436 w 5066"/>
                <a:gd name="T85" fmla="*/ 5280 h 5294"/>
                <a:gd name="T86" fmla="*/ 1750 w 5066"/>
                <a:gd name="T87" fmla="*/ 5205 h 5294"/>
                <a:gd name="T88" fmla="*/ 2040 w 5066"/>
                <a:gd name="T89" fmla="*/ 5075 h 5294"/>
                <a:gd name="T90" fmla="*/ 2302 w 5066"/>
                <a:gd name="T91" fmla="*/ 4898 h 5294"/>
                <a:gd name="T92" fmla="*/ 2538 w 5066"/>
                <a:gd name="T93" fmla="*/ 4679 h 5294"/>
                <a:gd name="T94" fmla="*/ 2681 w 5066"/>
                <a:gd name="T95" fmla="*/ 4637 h 5294"/>
                <a:gd name="T96" fmla="*/ 2700 w 5066"/>
                <a:gd name="T97" fmla="*/ 5021 h 5294"/>
                <a:gd name="T98" fmla="*/ 2721 w 5066"/>
                <a:gd name="T99" fmla="*/ 5272 h 5294"/>
                <a:gd name="T100" fmla="*/ 4090 w 5066"/>
                <a:gd name="T101" fmla="*/ 4975 h 5294"/>
                <a:gd name="T102" fmla="*/ 4105 w 5066"/>
                <a:gd name="T103" fmla="*/ 4576 h 5294"/>
                <a:gd name="T104" fmla="*/ 4161 w 5066"/>
                <a:gd name="T105" fmla="*/ 4121 h 5294"/>
                <a:gd name="T106" fmla="*/ 4502 w 5066"/>
                <a:gd name="T107" fmla="*/ 2560 h 5294"/>
                <a:gd name="T108" fmla="*/ 4914 w 5066"/>
                <a:gd name="T109" fmla="*/ 744 h 5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66" h="5294">
                  <a:moveTo>
                    <a:pt x="5066" y="81"/>
                  </a:moveTo>
                  <a:lnTo>
                    <a:pt x="4954" y="71"/>
                  </a:lnTo>
                  <a:lnTo>
                    <a:pt x="4837" y="61"/>
                  </a:lnTo>
                  <a:lnTo>
                    <a:pt x="4717" y="52"/>
                  </a:lnTo>
                  <a:lnTo>
                    <a:pt x="4593" y="43"/>
                  </a:lnTo>
                  <a:lnTo>
                    <a:pt x="4466" y="34"/>
                  </a:lnTo>
                  <a:lnTo>
                    <a:pt x="4337" y="27"/>
                  </a:lnTo>
                  <a:lnTo>
                    <a:pt x="4206" y="21"/>
                  </a:lnTo>
                  <a:lnTo>
                    <a:pt x="4074" y="15"/>
                  </a:lnTo>
                  <a:lnTo>
                    <a:pt x="3942" y="10"/>
                  </a:lnTo>
                  <a:lnTo>
                    <a:pt x="3809" y="5"/>
                  </a:lnTo>
                  <a:lnTo>
                    <a:pt x="3678" y="3"/>
                  </a:lnTo>
                  <a:lnTo>
                    <a:pt x="3548" y="1"/>
                  </a:lnTo>
                  <a:lnTo>
                    <a:pt x="3419" y="0"/>
                  </a:lnTo>
                  <a:lnTo>
                    <a:pt x="3294" y="0"/>
                  </a:lnTo>
                  <a:lnTo>
                    <a:pt x="3171" y="1"/>
                  </a:lnTo>
                  <a:lnTo>
                    <a:pt x="3052" y="4"/>
                  </a:lnTo>
                  <a:lnTo>
                    <a:pt x="2963" y="8"/>
                  </a:lnTo>
                  <a:lnTo>
                    <a:pt x="2876" y="13"/>
                  </a:lnTo>
                  <a:lnTo>
                    <a:pt x="2789" y="20"/>
                  </a:lnTo>
                  <a:lnTo>
                    <a:pt x="2704" y="28"/>
                  </a:lnTo>
                  <a:lnTo>
                    <a:pt x="2620" y="39"/>
                  </a:lnTo>
                  <a:lnTo>
                    <a:pt x="2537" y="51"/>
                  </a:lnTo>
                  <a:lnTo>
                    <a:pt x="2456" y="64"/>
                  </a:lnTo>
                  <a:lnTo>
                    <a:pt x="2376" y="80"/>
                  </a:lnTo>
                  <a:lnTo>
                    <a:pt x="2297" y="96"/>
                  </a:lnTo>
                  <a:lnTo>
                    <a:pt x="2220" y="116"/>
                  </a:lnTo>
                  <a:lnTo>
                    <a:pt x="2144" y="137"/>
                  </a:lnTo>
                  <a:lnTo>
                    <a:pt x="2070" y="159"/>
                  </a:lnTo>
                  <a:lnTo>
                    <a:pt x="1996" y="183"/>
                  </a:lnTo>
                  <a:lnTo>
                    <a:pt x="1924" y="209"/>
                  </a:lnTo>
                  <a:lnTo>
                    <a:pt x="1853" y="238"/>
                  </a:lnTo>
                  <a:lnTo>
                    <a:pt x="1783" y="267"/>
                  </a:lnTo>
                  <a:lnTo>
                    <a:pt x="1715" y="299"/>
                  </a:lnTo>
                  <a:lnTo>
                    <a:pt x="1648" y="333"/>
                  </a:lnTo>
                  <a:lnTo>
                    <a:pt x="1582" y="368"/>
                  </a:lnTo>
                  <a:lnTo>
                    <a:pt x="1518" y="405"/>
                  </a:lnTo>
                  <a:lnTo>
                    <a:pt x="1455" y="444"/>
                  </a:lnTo>
                  <a:lnTo>
                    <a:pt x="1393" y="486"/>
                  </a:lnTo>
                  <a:lnTo>
                    <a:pt x="1333" y="529"/>
                  </a:lnTo>
                  <a:lnTo>
                    <a:pt x="1274" y="575"/>
                  </a:lnTo>
                  <a:lnTo>
                    <a:pt x="1216" y="622"/>
                  </a:lnTo>
                  <a:lnTo>
                    <a:pt x="1159" y="671"/>
                  </a:lnTo>
                  <a:lnTo>
                    <a:pt x="1103" y="722"/>
                  </a:lnTo>
                  <a:lnTo>
                    <a:pt x="1049" y="775"/>
                  </a:lnTo>
                  <a:lnTo>
                    <a:pt x="996" y="831"/>
                  </a:lnTo>
                  <a:lnTo>
                    <a:pt x="945" y="887"/>
                  </a:lnTo>
                  <a:lnTo>
                    <a:pt x="895" y="947"/>
                  </a:lnTo>
                  <a:lnTo>
                    <a:pt x="845" y="1008"/>
                  </a:lnTo>
                  <a:lnTo>
                    <a:pt x="1107" y="1006"/>
                  </a:lnTo>
                  <a:lnTo>
                    <a:pt x="1360" y="1005"/>
                  </a:lnTo>
                  <a:lnTo>
                    <a:pt x="1602" y="1004"/>
                  </a:lnTo>
                  <a:lnTo>
                    <a:pt x="1833" y="1003"/>
                  </a:lnTo>
                  <a:lnTo>
                    <a:pt x="2051" y="1001"/>
                  </a:lnTo>
                  <a:lnTo>
                    <a:pt x="2255" y="1001"/>
                  </a:lnTo>
                  <a:lnTo>
                    <a:pt x="2445" y="1000"/>
                  </a:lnTo>
                  <a:lnTo>
                    <a:pt x="2619" y="999"/>
                  </a:lnTo>
                  <a:lnTo>
                    <a:pt x="2776" y="999"/>
                  </a:lnTo>
                  <a:lnTo>
                    <a:pt x="2916" y="998"/>
                  </a:lnTo>
                  <a:lnTo>
                    <a:pt x="3037" y="998"/>
                  </a:lnTo>
                  <a:lnTo>
                    <a:pt x="3139" y="997"/>
                  </a:lnTo>
                  <a:lnTo>
                    <a:pt x="3219" y="997"/>
                  </a:lnTo>
                  <a:lnTo>
                    <a:pt x="3278" y="997"/>
                  </a:lnTo>
                  <a:lnTo>
                    <a:pt x="3315" y="997"/>
                  </a:lnTo>
                  <a:lnTo>
                    <a:pt x="3327" y="997"/>
                  </a:lnTo>
                  <a:lnTo>
                    <a:pt x="3293" y="1144"/>
                  </a:lnTo>
                  <a:lnTo>
                    <a:pt x="3294" y="1144"/>
                  </a:lnTo>
                  <a:lnTo>
                    <a:pt x="3295" y="1145"/>
                  </a:lnTo>
                  <a:lnTo>
                    <a:pt x="3229" y="1425"/>
                  </a:lnTo>
                  <a:lnTo>
                    <a:pt x="3167" y="1688"/>
                  </a:lnTo>
                  <a:lnTo>
                    <a:pt x="3110" y="1930"/>
                  </a:lnTo>
                  <a:lnTo>
                    <a:pt x="3058" y="2155"/>
                  </a:lnTo>
                  <a:lnTo>
                    <a:pt x="3011" y="2360"/>
                  </a:lnTo>
                  <a:lnTo>
                    <a:pt x="2970" y="2546"/>
                  </a:lnTo>
                  <a:lnTo>
                    <a:pt x="2933" y="2714"/>
                  </a:lnTo>
                  <a:lnTo>
                    <a:pt x="2900" y="2864"/>
                  </a:lnTo>
                  <a:lnTo>
                    <a:pt x="2872" y="2996"/>
                  </a:lnTo>
                  <a:lnTo>
                    <a:pt x="2848" y="3110"/>
                  </a:lnTo>
                  <a:lnTo>
                    <a:pt x="2827" y="3205"/>
                  </a:lnTo>
                  <a:lnTo>
                    <a:pt x="2812" y="3283"/>
                  </a:lnTo>
                  <a:lnTo>
                    <a:pt x="2799" y="3343"/>
                  </a:lnTo>
                  <a:lnTo>
                    <a:pt x="2791" y="3387"/>
                  </a:lnTo>
                  <a:lnTo>
                    <a:pt x="2786" y="3412"/>
                  </a:lnTo>
                  <a:lnTo>
                    <a:pt x="2785" y="3421"/>
                  </a:lnTo>
                  <a:lnTo>
                    <a:pt x="2757" y="3462"/>
                  </a:lnTo>
                  <a:lnTo>
                    <a:pt x="2727" y="3505"/>
                  </a:lnTo>
                  <a:lnTo>
                    <a:pt x="2696" y="3550"/>
                  </a:lnTo>
                  <a:lnTo>
                    <a:pt x="2661" y="3594"/>
                  </a:lnTo>
                  <a:lnTo>
                    <a:pt x="2643" y="3616"/>
                  </a:lnTo>
                  <a:lnTo>
                    <a:pt x="2624" y="3638"/>
                  </a:lnTo>
                  <a:lnTo>
                    <a:pt x="2605" y="3659"/>
                  </a:lnTo>
                  <a:lnTo>
                    <a:pt x="2584" y="3680"/>
                  </a:lnTo>
                  <a:lnTo>
                    <a:pt x="2563" y="3701"/>
                  </a:lnTo>
                  <a:lnTo>
                    <a:pt x="2542" y="3721"/>
                  </a:lnTo>
                  <a:lnTo>
                    <a:pt x="2520" y="3742"/>
                  </a:lnTo>
                  <a:lnTo>
                    <a:pt x="2496" y="3760"/>
                  </a:lnTo>
                  <a:lnTo>
                    <a:pt x="2472" y="3779"/>
                  </a:lnTo>
                  <a:lnTo>
                    <a:pt x="2447" y="3798"/>
                  </a:lnTo>
                  <a:lnTo>
                    <a:pt x="2421" y="3815"/>
                  </a:lnTo>
                  <a:lnTo>
                    <a:pt x="2396" y="3831"/>
                  </a:lnTo>
                  <a:lnTo>
                    <a:pt x="2369" y="3846"/>
                  </a:lnTo>
                  <a:lnTo>
                    <a:pt x="2340" y="3861"/>
                  </a:lnTo>
                  <a:lnTo>
                    <a:pt x="2311" y="3874"/>
                  </a:lnTo>
                  <a:lnTo>
                    <a:pt x="2281" y="3886"/>
                  </a:lnTo>
                  <a:lnTo>
                    <a:pt x="2251" y="3898"/>
                  </a:lnTo>
                  <a:lnTo>
                    <a:pt x="2219" y="3908"/>
                  </a:lnTo>
                  <a:lnTo>
                    <a:pt x="2185" y="3916"/>
                  </a:lnTo>
                  <a:lnTo>
                    <a:pt x="2151" y="3924"/>
                  </a:lnTo>
                  <a:lnTo>
                    <a:pt x="2117" y="3929"/>
                  </a:lnTo>
                  <a:lnTo>
                    <a:pt x="2081" y="3933"/>
                  </a:lnTo>
                  <a:lnTo>
                    <a:pt x="2045" y="3936"/>
                  </a:lnTo>
                  <a:lnTo>
                    <a:pt x="2006" y="3936"/>
                  </a:lnTo>
                  <a:lnTo>
                    <a:pt x="1973" y="3936"/>
                  </a:lnTo>
                  <a:lnTo>
                    <a:pt x="1941" y="3933"/>
                  </a:lnTo>
                  <a:lnTo>
                    <a:pt x="1911" y="3929"/>
                  </a:lnTo>
                  <a:lnTo>
                    <a:pt x="1883" y="3923"/>
                  </a:lnTo>
                  <a:lnTo>
                    <a:pt x="1857" y="3914"/>
                  </a:lnTo>
                  <a:lnTo>
                    <a:pt x="1833" y="3905"/>
                  </a:lnTo>
                  <a:lnTo>
                    <a:pt x="1809" y="3894"/>
                  </a:lnTo>
                  <a:lnTo>
                    <a:pt x="1787" y="3881"/>
                  </a:lnTo>
                  <a:lnTo>
                    <a:pt x="1767" y="3868"/>
                  </a:lnTo>
                  <a:lnTo>
                    <a:pt x="1749" y="3853"/>
                  </a:lnTo>
                  <a:lnTo>
                    <a:pt x="1731" y="3837"/>
                  </a:lnTo>
                  <a:lnTo>
                    <a:pt x="1716" y="3819"/>
                  </a:lnTo>
                  <a:lnTo>
                    <a:pt x="1701" y="3801"/>
                  </a:lnTo>
                  <a:lnTo>
                    <a:pt x="1688" y="3781"/>
                  </a:lnTo>
                  <a:lnTo>
                    <a:pt x="1675" y="3760"/>
                  </a:lnTo>
                  <a:lnTo>
                    <a:pt x="1664" y="3740"/>
                  </a:lnTo>
                  <a:lnTo>
                    <a:pt x="1653" y="3717"/>
                  </a:lnTo>
                  <a:lnTo>
                    <a:pt x="1645" y="3694"/>
                  </a:lnTo>
                  <a:lnTo>
                    <a:pt x="1637" y="3670"/>
                  </a:lnTo>
                  <a:lnTo>
                    <a:pt x="1631" y="3646"/>
                  </a:lnTo>
                  <a:lnTo>
                    <a:pt x="1625" y="3620"/>
                  </a:lnTo>
                  <a:lnTo>
                    <a:pt x="1619" y="3595"/>
                  </a:lnTo>
                  <a:lnTo>
                    <a:pt x="1615" y="3568"/>
                  </a:lnTo>
                  <a:lnTo>
                    <a:pt x="1611" y="3543"/>
                  </a:lnTo>
                  <a:lnTo>
                    <a:pt x="1608" y="3516"/>
                  </a:lnTo>
                  <a:lnTo>
                    <a:pt x="1606" y="3488"/>
                  </a:lnTo>
                  <a:lnTo>
                    <a:pt x="1605" y="3461"/>
                  </a:lnTo>
                  <a:lnTo>
                    <a:pt x="1604" y="3433"/>
                  </a:lnTo>
                  <a:lnTo>
                    <a:pt x="1603" y="3378"/>
                  </a:lnTo>
                  <a:lnTo>
                    <a:pt x="1604" y="3324"/>
                  </a:lnTo>
                  <a:lnTo>
                    <a:pt x="1607" y="3257"/>
                  </a:lnTo>
                  <a:lnTo>
                    <a:pt x="1611" y="3188"/>
                  </a:lnTo>
                  <a:lnTo>
                    <a:pt x="1616" y="3120"/>
                  </a:lnTo>
                  <a:lnTo>
                    <a:pt x="1622" y="3050"/>
                  </a:lnTo>
                  <a:lnTo>
                    <a:pt x="1630" y="2979"/>
                  </a:lnTo>
                  <a:lnTo>
                    <a:pt x="1638" y="2907"/>
                  </a:lnTo>
                  <a:lnTo>
                    <a:pt x="1647" y="2835"/>
                  </a:lnTo>
                  <a:lnTo>
                    <a:pt x="1659" y="2763"/>
                  </a:lnTo>
                  <a:lnTo>
                    <a:pt x="1670" y="2691"/>
                  </a:lnTo>
                  <a:lnTo>
                    <a:pt x="1684" y="2618"/>
                  </a:lnTo>
                  <a:lnTo>
                    <a:pt x="1698" y="2545"/>
                  </a:lnTo>
                  <a:lnTo>
                    <a:pt x="1714" y="2473"/>
                  </a:lnTo>
                  <a:lnTo>
                    <a:pt x="1730" y="2400"/>
                  </a:lnTo>
                  <a:lnTo>
                    <a:pt x="1748" y="2329"/>
                  </a:lnTo>
                  <a:lnTo>
                    <a:pt x="1766" y="2259"/>
                  </a:lnTo>
                  <a:lnTo>
                    <a:pt x="1786" y="2189"/>
                  </a:lnTo>
                  <a:lnTo>
                    <a:pt x="1808" y="2119"/>
                  </a:lnTo>
                  <a:lnTo>
                    <a:pt x="1830" y="2051"/>
                  </a:lnTo>
                  <a:lnTo>
                    <a:pt x="1854" y="1984"/>
                  </a:lnTo>
                  <a:lnTo>
                    <a:pt x="1879" y="1919"/>
                  </a:lnTo>
                  <a:lnTo>
                    <a:pt x="1905" y="1855"/>
                  </a:lnTo>
                  <a:lnTo>
                    <a:pt x="1932" y="1793"/>
                  </a:lnTo>
                  <a:lnTo>
                    <a:pt x="1961" y="1732"/>
                  </a:lnTo>
                  <a:lnTo>
                    <a:pt x="1990" y="1674"/>
                  </a:lnTo>
                  <a:lnTo>
                    <a:pt x="2021" y="1618"/>
                  </a:lnTo>
                  <a:lnTo>
                    <a:pt x="2053" y="1564"/>
                  </a:lnTo>
                  <a:lnTo>
                    <a:pt x="2086" y="1512"/>
                  </a:lnTo>
                  <a:lnTo>
                    <a:pt x="2121" y="1464"/>
                  </a:lnTo>
                  <a:lnTo>
                    <a:pt x="2158" y="1417"/>
                  </a:lnTo>
                  <a:lnTo>
                    <a:pt x="2194" y="1374"/>
                  </a:lnTo>
                  <a:lnTo>
                    <a:pt x="2232" y="1334"/>
                  </a:lnTo>
                  <a:lnTo>
                    <a:pt x="2272" y="1295"/>
                  </a:lnTo>
                  <a:lnTo>
                    <a:pt x="2188" y="1297"/>
                  </a:lnTo>
                  <a:lnTo>
                    <a:pt x="2101" y="1299"/>
                  </a:lnTo>
                  <a:lnTo>
                    <a:pt x="2011" y="1302"/>
                  </a:lnTo>
                  <a:lnTo>
                    <a:pt x="1917" y="1304"/>
                  </a:lnTo>
                  <a:lnTo>
                    <a:pt x="1822" y="1307"/>
                  </a:lnTo>
                  <a:lnTo>
                    <a:pt x="1725" y="1309"/>
                  </a:lnTo>
                  <a:lnTo>
                    <a:pt x="1625" y="1311"/>
                  </a:lnTo>
                  <a:lnTo>
                    <a:pt x="1521" y="1314"/>
                  </a:lnTo>
                  <a:lnTo>
                    <a:pt x="1416" y="1317"/>
                  </a:lnTo>
                  <a:lnTo>
                    <a:pt x="1309" y="1320"/>
                  </a:lnTo>
                  <a:lnTo>
                    <a:pt x="1199" y="1323"/>
                  </a:lnTo>
                  <a:lnTo>
                    <a:pt x="1087" y="1326"/>
                  </a:lnTo>
                  <a:lnTo>
                    <a:pt x="975" y="1330"/>
                  </a:lnTo>
                  <a:lnTo>
                    <a:pt x="859" y="1334"/>
                  </a:lnTo>
                  <a:lnTo>
                    <a:pt x="741" y="1338"/>
                  </a:lnTo>
                  <a:lnTo>
                    <a:pt x="622" y="1342"/>
                  </a:lnTo>
                  <a:lnTo>
                    <a:pt x="588" y="1399"/>
                  </a:lnTo>
                  <a:lnTo>
                    <a:pt x="556" y="1456"/>
                  </a:lnTo>
                  <a:lnTo>
                    <a:pt x="524" y="1516"/>
                  </a:lnTo>
                  <a:lnTo>
                    <a:pt x="494" y="1576"/>
                  </a:lnTo>
                  <a:lnTo>
                    <a:pt x="463" y="1638"/>
                  </a:lnTo>
                  <a:lnTo>
                    <a:pt x="434" y="1700"/>
                  </a:lnTo>
                  <a:lnTo>
                    <a:pt x="406" y="1763"/>
                  </a:lnTo>
                  <a:lnTo>
                    <a:pt x="378" y="1828"/>
                  </a:lnTo>
                  <a:lnTo>
                    <a:pt x="351" y="1893"/>
                  </a:lnTo>
                  <a:lnTo>
                    <a:pt x="326" y="1958"/>
                  </a:lnTo>
                  <a:lnTo>
                    <a:pt x="301" y="2026"/>
                  </a:lnTo>
                  <a:lnTo>
                    <a:pt x="276" y="2094"/>
                  </a:lnTo>
                  <a:lnTo>
                    <a:pt x="253" y="2162"/>
                  </a:lnTo>
                  <a:lnTo>
                    <a:pt x="230" y="2231"/>
                  </a:lnTo>
                  <a:lnTo>
                    <a:pt x="210" y="2301"/>
                  </a:lnTo>
                  <a:lnTo>
                    <a:pt x="189" y="2371"/>
                  </a:lnTo>
                  <a:lnTo>
                    <a:pt x="169" y="2444"/>
                  </a:lnTo>
                  <a:lnTo>
                    <a:pt x="151" y="2515"/>
                  </a:lnTo>
                  <a:lnTo>
                    <a:pt x="133" y="2588"/>
                  </a:lnTo>
                  <a:lnTo>
                    <a:pt x="117" y="2662"/>
                  </a:lnTo>
                  <a:lnTo>
                    <a:pt x="101" y="2736"/>
                  </a:lnTo>
                  <a:lnTo>
                    <a:pt x="86" y="2810"/>
                  </a:lnTo>
                  <a:lnTo>
                    <a:pt x="73" y="2885"/>
                  </a:lnTo>
                  <a:lnTo>
                    <a:pt x="61" y="2961"/>
                  </a:lnTo>
                  <a:lnTo>
                    <a:pt x="49" y="3037"/>
                  </a:lnTo>
                  <a:lnTo>
                    <a:pt x="39" y="3114"/>
                  </a:lnTo>
                  <a:lnTo>
                    <a:pt x="30" y="3190"/>
                  </a:lnTo>
                  <a:lnTo>
                    <a:pt x="21" y="3268"/>
                  </a:lnTo>
                  <a:lnTo>
                    <a:pt x="14" y="3345"/>
                  </a:lnTo>
                  <a:lnTo>
                    <a:pt x="9" y="3424"/>
                  </a:lnTo>
                  <a:lnTo>
                    <a:pt x="4" y="3502"/>
                  </a:lnTo>
                  <a:lnTo>
                    <a:pt x="1" y="3582"/>
                  </a:lnTo>
                  <a:lnTo>
                    <a:pt x="0" y="3653"/>
                  </a:lnTo>
                  <a:lnTo>
                    <a:pt x="0" y="3726"/>
                  </a:lnTo>
                  <a:lnTo>
                    <a:pt x="3" y="3800"/>
                  </a:lnTo>
                  <a:lnTo>
                    <a:pt x="8" y="3873"/>
                  </a:lnTo>
                  <a:lnTo>
                    <a:pt x="16" y="3947"/>
                  </a:lnTo>
                  <a:lnTo>
                    <a:pt x="25" y="4022"/>
                  </a:lnTo>
                  <a:lnTo>
                    <a:pt x="38" y="4096"/>
                  </a:lnTo>
                  <a:lnTo>
                    <a:pt x="52" y="4170"/>
                  </a:lnTo>
                  <a:lnTo>
                    <a:pt x="70" y="4244"/>
                  </a:lnTo>
                  <a:lnTo>
                    <a:pt x="89" y="4316"/>
                  </a:lnTo>
                  <a:lnTo>
                    <a:pt x="111" y="4387"/>
                  </a:lnTo>
                  <a:lnTo>
                    <a:pt x="135" y="4458"/>
                  </a:lnTo>
                  <a:lnTo>
                    <a:pt x="163" y="4527"/>
                  </a:lnTo>
                  <a:lnTo>
                    <a:pt x="192" y="4594"/>
                  </a:lnTo>
                  <a:lnTo>
                    <a:pt x="225" y="4660"/>
                  </a:lnTo>
                  <a:lnTo>
                    <a:pt x="259" y="4723"/>
                  </a:lnTo>
                  <a:lnTo>
                    <a:pt x="298" y="4784"/>
                  </a:lnTo>
                  <a:lnTo>
                    <a:pt x="338" y="4843"/>
                  </a:lnTo>
                  <a:lnTo>
                    <a:pt x="381" y="4900"/>
                  </a:lnTo>
                  <a:lnTo>
                    <a:pt x="427" y="4953"/>
                  </a:lnTo>
                  <a:lnTo>
                    <a:pt x="477" y="5003"/>
                  </a:lnTo>
                  <a:lnTo>
                    <a:pt x="528" y="5050"/>
                  </a:lnTo>
                  <a:lnTo>
                    <a:pt x="582" y="5094"/>
                  </a:lnTo>
                  <a:lnTo>
                    <a:pt x="640" y="5133"/>
                  </a:lnTo>
                  <a:lnTo>
                    <a:pt x="701" y="5169"/>
                  </a:lnTo>
                  <a:lnTo>
                    <a:pt x="764" y="5201"/>
                  </a:lnTo>
                  <a:lnTo>
                    <a:pt x="832" y="5229"/>
                  </a:lnTo>
                  <a:lnTo>
                    <a:pt x="902" y="5252"/>
                  </a:lnTo>
                  <a:lnTo>
                    <a:pt x="975" y="5270"/>
                  </a:lnTo>
                  <a:lnTo>
                    <a:pt x="1051" y="5283"/>
                  </a:lnTo>
                  <a:lnTo>
                    <a:pt x="1130" y="5291"/>
                  </a:lnTo>
                  <a:lnTo>
                    <a:pt x="1213" y="5294"/>
                  </a:lnTo>
                  <a:lnTo>
                    <a:pt x="1270" y="5293"/>
                  </a:lnTo>
                  <a:lnTo>
                    <a:pt x="1325" y="5290"/>
                  </a:lnTo>
                  <a:lnTo>
                    <a:pt x="1381" y="5286"/>
                  </a:lnTo>
                  <a:lnTo>
                    <a:pt x="1436" y="5280"/>
                  </a:lnTo>
                  <a:lnTo>
                    <a:pt x="1490" y="5271"/>
                  </a:lnTo>
                  <a:lnTo>
                    <a:pt x="1543" y="5261"/>
                  </a:lnTo>
                  <a:lnTo>
                    <a:pt x="1596" y="5250"/>
                  </a:lnTo>
                  <a:lnTo>
                    <a:pt x="1648" y="5236"/>
                  </a:lnTo>
                  <a:lnTo>
                    <a:pt x="1699" y="5222"/>
                  </a:lnTo>
                  <a:lnTo>
                    <a:pt x="1750" y="5205"/>
                  </a:lnTo>
                  <a:lnTo>
                    <a:pt x="1799" y="5188"/>
                  </a:lnTo>
                  <a:lnTo>
                    <a:pt x="1849" y="5168"/>
                  </a:lnTo>
                  <a:lnTo>
                    <a:pt x="1898" y="5147"/>
                  </a:lnTo>
                  <a:lnTo>
                    <a:pt x="1945" y="5125"/>
                  </a:lnTo>
                  <a:lnTo>
                    <a:pt x="1993" y="5101"/>
                  </a:lnTo>
                  <a:lnTo>
                    <a:pt x="2040" y="5075"/>
                  </a:lnTo>
                  <a:lnTo>
                    <a:pt x="2085" y="5049"/>
                  </a:lnTo>
                  <a:lnTo>
                    <a:pt x="2130" y="5021"/>
                  </a:lnTo>
                  <a:lnTo>
                    <a:pt x="2174" y="4993"/>
                  </a:lnTo>
                  <a:lnTo>
                    <a:pt x="2218" y="4962"/>
                  </a:lnTo>
                  <a:lnTo>
                    <a:pt x="2260" y="4931"/>
                  </a:lnTo>
                  <a:lnTo>
                    <a:pt x="2302" y="4898"/>
                  </a:lnTo>
                  <a:lnTo>
                    <a:pt x="2344" y="4863"/>
                  </a:lnTo>
                  <a:lnTo>
                    <a:pt x="2384" y="4828"/>
                  </a:lnTo>
                  <a:lnTo>
                    <a:pt x="2424" y="4793"/>
                  </a:lnTo>
                  <a:lnTo>
                    <a:pt x="2463" y="4756"/>
                  </a:lnTo>
                  <a:lnTo>
                    <a:pt x="2501" y="4718"/>
                  </a:lnTo>
                  <a:lnTo>
                    <a:pt x="2538" y="4679"/>
                  </a:lnTo>
                  <a:lnTo>
                    <a:pt x="2576" y="4638"/>
                  </a:lnTo>
                  <a:lnTo>
                    <a:pt x="2612" y="4598"/>
                  </a:lnTo>
                  <a:lnTo>
                    <a:pt x="2647" y="4556"/>
                  </a:lnTo>
                  <a:lnTo>
                    <a:pt x="2681" y="4513"/>
                  </a:lnTo>
                  <a:lnTo>
                    <a:pt x="2681" y="4574"/>
                  </a:lnTo>
                  <a:lnTo>
                    <a:pt x="2681" y="4637"/>
                  </a:lnTo>
                  <a:lnTo>
                    <a:pt x="2683" y="4702"/>
                  </a:lnTo>
                  <a:lnTo>
                    <a:pt x="2685" y="4768"/>
                  </a:lnTo>
                  <a:lnTo>
                    <a:pt x="2688" y="4833"/>
                  </a:lnTo>
                  <a:lnTo>
                    <a:pt x="2692" y="4899"/>
                  </a:lnTo>
                  <a:lnTo>
                    <a:pt x="2696" y="4962"/>
                  </a:lnTo>
                  <a:lnTo>
                    <a:pt x="2700" y="5021"/>
                  </a:lnTo>
                  <a:lnTo>
                    <a:pt x="2704" y="5077"/>
                  </a:lnTo>
                  <a:lnTo>
                    <a:pt x="2708" y="5130"/>
                  </a:lnTo>
                  <a:lnTo>
                    <a:pt x="2712" y="5175"/>
                  </a:lnTo>
                  <a:lnTo>
                    <a:pt x="2715" y="5216"/>
                  </a:lnTo>
                  <a:lnTo>
                    <a:pt x="2719" y="5248"/>
                  </a:lnTo>
                  <a:lnTo>
                    <a:pt x="2721" y="5272"/>
                  </a:lnTo>
                  <a:lnTo>
                    <a:pt x="2723" y="5288"/>
                  </a:lnTo>
                  <a:lnTo>
                    <a:pt x="2723" y="5293"/>
                  </a:lnTo>
                  <a:lnTo>
                    <a:pt x="4092" y="5128"/>
                  </a:lnTo>
                  <a:lnTo>
                    <a:pt x="4091" y="5081"/>
                  </a:lnTo>
                  <a:lnTo>
                    <a:pt x="4090" y="5031"/>
                  </a:lnTo>
                  <a:lnTo>
                    <a:pt x="4090" y="4975"/>
                  </a:lnTo>
                  <a:lnTo>
                    <a:pt x="4091" y="4916"/>
                  </a:lnTo>
                  <a:lnTo>
                    <a:pt x="4092" y="4854"/>
                  </a:lnTo>
                  <a:lnTo>
                    <a:pt x="4094" y="4788"/>
                  </a:lnTo>
                  <a:lnTo>
                    <a:pt x="4096" y="4720"/>
                  </a:lnTo>
                  <a:lnTo>
                    <a:pt x="4100" y="4649"/>
                  </a:lnTo>
                  <a:lnTo>
                    <a:pt x="4105" y="4576"/>
                  </a:lnTo>
                  <a:lnTo>
                    <a:pt x="4111" y="4502"/>
                  </a:lnTo>
                  <a:lnTo>
                    <a:pt x="4118" y="4427"/>
                  </a:lnTo>
                  <a:lnTo>
                    <a:pt x="4127" y="4350"/>
                  </a:lnTo>
                  <a:lnTo>
                    <a:pt x="4137" y="4274"/>
                  </a:lnTo>
                  <a:lnTo>
                    <a:pt x="4149" y="4197"/>
                  </a:lnTo>
                  <a:lnTo>
                    <a:pt x="4161" y="4121"/>
                  </a:lnTo>
                  <a:lnTo>
                    <a:pt x="4177" y="4044"/>
                  </a:lnTo>
                  <a:lnTo>
                    <a:pt x="4231" y="3790"/>
                  </a:lnTo>
                  <a:lnTo>
                    <a:pt x="4293" y="3509"/>
                  </a:lnTo>
                  <a:lnTo>
                    <a:pt x="4359" y="3205"/>
                  </a:lnTo>
                  <a:lnTo>
                    <a:pt x="4429" y="2888"/>
                  </a:lnTo>
                  <a:lnTo>
                    <a:pt x="4502" y="2560"/>
                  </a:lnTo>
                  <a:lnTo>
                    <a:pt x="4576" y="2230"/>
                  </a:lnTo>
                  <a:lnTo>
                    <a:pt x="4650" y="1903"/>
                  </a:lnTo>
                  <a:lnTo>
                    <a:pt x="4722" y="1585"/>
                  </a:lnTo>
                  <a:lnTo>
                    <a:pt x="4791" y="1281"/>
                  </a:lnTo>
                  <a:lnTo>
                    <a:pt x="4856" y="999"/>
                  </a:lnTo>
                  <a:lnTo>
                    <a:pt x="4914" y="744"/>
                  </a:lnTo>
                  <a:lnTo>
                    <a:pt x="4964" y="521"/>
                  </a:lnTo>
                  <a:lnTo>
                    <a:pt x="5007" y="338"/>
                  </a:lnTo>
                  <a:lnTo>
                    <a:pt x="5038" y="200"/>
                  </a:lnTo>
                  <a:lnTo>
                    <a:pt x="5059" y="112"/>
                  </a:lnTo>
                  <a:lnTo>
                    <a:pt x="5066" y="81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96E769DE-5192-4D88-93BC-8FED315A4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65809" y="6119995"/>
              <a:ext cx="288483" cy="259636"/>
            </a:xfrm>
            <a:custGeom>
              <a:avLst/>
              <a:gdLst>
                <a:gd name="T0" fmla="*/ 2869 w 3912"/>
                <a:gd name="T1" fmla="*/ 283 h 3530"/>
                <a:gd name="T2" fmla="*/ 2669 w 3912"/>
                <a:gd name="T3" fmla="*/ 133 h 3530"/>
                <a:gd name="T4" fmla="*/ 2539 w 3912"/>
                <a:gd name="T5" fmla="*/ 24 h 3530"/>
                <a:gd name="T6" fmla="*/ 2360 w 3912"/>
                <a:gd name="T7" fmla="*/ 20 h 3530"/>
                <a:gd name="T8" fmla="*/ 2160 w 3912"/>
                <a:gd name="T9" fmla="*/ 46 h 3530"/>
                <a:gd name="T10" fmla="*/ 1964 w 3912"/>
                <a:gd name="T11" fmla="*/ 74 h 3530"/>
                <a:gd name="T12" fmla="*/ 1774 w 3912"/>
                <a:gd name="T13" fmla="*/ 102 h 3530"/>
                <a:gd name="T14" fmla="*/ 1512 w 3912"/>
                <a:gd name="T15" fmla="*/ 145 h 3530"/>
                <a:gd name="T16" fmla="*/ 1235 w 3912"/>
                <a:gd name="T17" fmla="*/ 192 h 3530"/>
                <a:gd name="T18" fmla="*/ 966 w 3912"/>
                <a:gd name="T19" fmla="*/ 240 h 3530"/>
                <a:gd name="T20" fmla="*/ 707 w 3912"/>
                <a:gd name="T21" fmla="*/ 289 h 3530"/>
                <a:gd name="T22" fmla="*/ 675 w 3912"/>
                <a:gd name="T23" fmla="*/ 421 h 3530"/>
                <a:gd name="T24" fmla="*/ 732 w 3912"/>
                <a:gd name="T25" fmla="*/ 568 h 3530"/>
                <a:gd name="T26" fmla="*/ 808 w 3912"/>
                <a:gd name="T27" fmla="*/ 702 h 3530"/>
                <a:gd name="T28" fmla="*/ 902 w 3912"/>
                <a:gd name="T29" fmla="*/ 826 h 3530"/>
                <a:gd name="T30" fmla="*/ 1013 w 3912"/>
                <a:gd name="T31" fmla="*/ 945 h 3530"/>
                <a:gd name="T32" fmla="*/ 1139 w 3912"/>
                <a:gd name="T33" fmla="*/ 1059 h 3530"/>
                <a:gd name="T34" fmla="*/ 1396 w 3912"/>
                <a:gd name="T35" fmla="*/ 1256 h 3530"/>
                <a:gd name="T36" fmla="*/ 1650 w 3912"/>
                <a:gd name="T37" fmla="*/ 1422 h 3530"/>
                <a:gd name="T38" fmla="*/ 1865 w 3912"/>
                <a:gd name="T39" fmla="*/ 1562 h 3530"/>
                <a:gd name="T40" fmla="*/ 1996 w 3912"/>
                <a:gd name="T41" fmla="*/ 1664 h 3530"/>
                <a:gd name="T42" fmla="*/ 2081 w 3912"/>
                <a:gd name="T43" fmla="*/ 1751 h 3530"/>
                <a:gd name="T44" fmla="*/ 2115 w 3912"/>
                <a:gd name="T45" fmla="*/ 1809 h 3530"/>
                <a:gd name="T46" fmla="*/ 2131 w 3912"/>
                <a:gd name="T47" fmla="*/ 1871 h 3530"/>
                <a:gd name="T48" fmla="*/ 2130 w 3912"/>
                <a:gd name="T49" fmla="*/ 1935 h 3530"/>
                <a:gd name="T50" fmla="*/ 2112 w 3912"/>
                <a:gd name="T51" fmla="*/ 2008 h 3530"/>
                <a:gd name="T52" fmla="*/ 2070 w 3912"/>
                <a:gd name="T53" fmla="*/ 2104 h 3530"/>
                <a:gd name="T54" fmla="*/ 2009 w 3912"/>
                <a:gd name="T55" fmla="*/ 2180 h 3530"/>
                <a:gd name="T56" fmla="*/ 1930 w 3912"/>
                <a:gd name="T57" fmla="*/ 2239 h 3530"/>
                <a:gd name="T58" fmla="*/ 1838 w 3912"/>
                <a:gd name="T59" fmla="*/ 2282 h 3530"/>
                <a:gd name="T60" fmla="*/ 1731 w 3912"/>
                <a:gd name="T61" fmla="*/ 2313 h 3530"/>
                <a:gd name="T62" fmla="*/ 1613 w 3912"/>
                <a:gd name="T63" fmla="*/ 2332 h 3530"/>
                <a:gd name="T64" fmla="*/ 1451 w 3912"/>
                <a:gd name="T65" fmla="*/ 2343 h 3530"/>
                <a:gd name="T66" fmla="*/ 1203 w 3912"/>
                <a:gd name="T67" fmla="*/ 2342 h 3530"/>
                <a:gd name="T68" fmla="*/ 984 w 3912"/>
                <a:gd name="T69" fmla="*/ 2330 h 3530"/>
                <a:gd name="T70" fmla="*/ 664 w 3912"/>
                <a:gd name="T71" fmla="*/ 2292 h 3530"/>
                <a:gd name="T72" fmla="*/ 411 w 3912"/>
                <a:gd name="T73" fmla="*/ 2241 h 3530"/>
                <a:gd name="T74" fmla="*/ 296 w 3912"/>
                <a:gd name="T75" fmla="*/ 2211 h 3530"/>
                <a:gd name="T76" fmla="*/ 33 w 3912"/>
                <a:gd name="T77" fmla="*/ 3415 h 3530"/>
                <a:gd name="T78" fmla="*/ 289 w 3912"/>
                <a:gd name="T79" fmla="*/ 3458 h 3530"/>
                <a:gd name="T80" fmla="*/ 626 w 3912"/>
                <a:gd name="T81" fmla="*/ 3497 h 3530"/>
                <a:gd name="T82" fmla="*/ 911 w 3912"/>
                <a:gd name="T83" fmla="*/ 3517 h 3530"/>
                <a:gd name="T84" fmla="*/ 1239 w 3912"/>
                <a:gd name="T85" fmla="*/ 3529 h 3530"/>
                <a:gd name="T86" fmla="*/ 1605 w 3912"/>
                <a:gd name="T87" fmla="*/ 3526 h 3530"/>
                <a:gd name="T88" fmla="*/ 2057 w 3912"/>
                <a:gd name="T89" fmla="*/ 3493 h 3530"/>
                <a:gd name="T90" fmla="*/ 2518 w 3912"/>
                <a:gd name="T91" fmla="*/ 3389 h 3530"/>
                <a:gd name="T92" fmla="*/ 2911 w 3912"/>
                <a:gd name="T93" fmla="*/ 3223 h 3530"/>
                <a:gd name="T94" fmla="*/ 3237 w 3912"/>
                <a:gd name="T95" fmla="*/ 3003 h 3530"/>
                <a:gd name="T96" fmla="*/ 3497 w 3912"/>
                <a:gd name="T97" fmla="*/ 2740 h 3530"/>
                <a:gd name="T98" fmla="*/ 3694 w 3912"/>
                <a:gd name="T99" fmla="*/ 2445 h 3530"/>
                <a:gd name="T100" fmla="*/ 3827 w 3912"/>
                <a:gd name="T101" fmla="*/ 2128 h 3530"/>
                <a:gd name="T102" fmla="*/ 3899 w 3912"/>
                <a:gd name="T103" fmla="*/ 1800 h 3530"/>
                <a:gd name="T104" fmla="*/ 3910 w 3912"/>
                <a:gd name="T105" fmla="*/ 1533 h 3530"/>
                <a:gd name="T106" fmla="*/ 3875 w 3912"/>
                <a:gd name="T107" fmla="*/ 1340 h 3530"/>
                <a:gd name="T108" fmla="*/ 3805 w 3912"/>
                <a:gd name="T109" fmla="*/ 1164 h 3530"/>
                <a:gd name="T110" fmla="*/ 3702 w 3912"/>
                <a:gd name="T111" fmla="*/ 1000 h 3530"/>
                <a:gd name="T112" fmla="*/ 3575 w 3912"/>
                <a:gd name="T113" fmla="*/ 848 h 3530"/>
                <a:gd name="T114" fmla="*/ 3427 w 3912"/>
                <a:gd name="T115" fmla="*/ 706 h 3530"/>
                <a:gd name="T116" fmla="*/ 3265 w 3912"/>
                <a:gd name="T117" fmla="*/ 573 h 3530"/>
                <a:gd name="T118" fmla="*/ 3009 w 3912"/>
                <a:gd name="T119" fmla="*/ 386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12" h="3530">
                  <a:moveTo>
                    <a:pt x="3009" y="386"/>
                  </a:moveTo>
                  <a:lnTo>
                    <a:pt x="2964" y="353"/>
                  </a:lnTo>
                  <a:lnTo>
                    <a:pt x="2918" y="318"/>
                  </a:lnTo>
                  <a:lnTo>
                    <a:pt x="2869" y="283"/>
                  </a:lnTo>
                  <a:lnTo>
                    <a:pt x="2819" y="247"/>
                  </a:lnTo>
                  <a:lnTo>
                    <a:pt x="2769" y="210"/>
                  </a:lnTo>
                  <a:lnTo>
                    <a:pt x="2718" y="172"/>
                  </a:lnTo>
                  <a:lnTo>
                    <a:pt x="2669" y="133"/>
                  </a:lnTo>
                  <a:lnTo>
                    <a:pt x="2623" y="93"/>
                  </a:lnTo>
                  <a:lnTo>
                    <a:pt x="2595" y="69"/>
                  </a:lnTo>
                  <a:lnTo>
                    <a:pt x="2566" y="46"/>
                  </a:lnTo>
                  <a:lnTo>
                    <a:pt x="2539" y="24"/>
                  </a:lnTo>
                  <a:lnTo>
                    <a:pt x="2512" y="0"/>
                  </a:lnTo>
                  <a:lnTo>
                    <a:pt x="2461" y="7"/>
                  </a:lnTo>
                  <a:lnTo>
                    <a:pt x="2410" y="13"/>
                  </a:lnTo>
                  <a:lnTo>
                    <a:pt x="2360" y="20"/>
                  </a:lnTo>
                  <a:lnTo>
                    <a:pt x="2309" y="27"/>
                  </a:lnTo>
                  <a:lnTo>
                    <a:pt x="2259" y="33"/>
                  </a:lnTo>
                  <a:lnTo>
                    <a:pt x="2209" y="40"/>
                  </a:lnTo>
                  <a:lnTo>
                    <a:pt x="2160" y="46"/>
                  </a:lnTo>
                  <a:lnTo>
                    <a:pt x="2110" y="54"/>
                  </a:lnTo>
                  <a:lnTo>
                    <a:pt x="2062" y="60"/>
                  </a:lnTo>
                  <a:lnTo>
                    <a:pt x="2013" y="67"/>
                  </a:lnTo>
                  <a:lnTo>
                    <a:pt x="1964" y="74"/>
                  </a:lnTo>
                  <a:lnTo>
                    <a:pt x="1916" y="82"/>
                  </a:lnTo>
                  <a:lnTo>
                    <a:pt x="1868" y="89"/>
                  </a:lnTo>
                  <a:lnTo>
                    <a:pt x="1820" y="95"/>
                  </a:lnTo>
                  <a:lnTo>
                    <a:pt x="1774" y="102"/>
                  </a:lnTo>
                  <a:lnTo>
                    <a:pt x="1727" y="109"/>
                  </a:lnTo>
                  <a:lnTo>
                    <a:pt x="1655" y="121"/>
                  </a:lnTo>
                  <a:lnTo>
                    <a:pt x="1583" y="133"/>
                  </a:lnTo>
                  <a:lnTo>
                    <a:pt x="1512" y="145"/>
                  </a:lnTo>
                  <a:lnTo>
                    <a:pt x="1442" y="156"/>
                  </a:lnTo>
                  <a:lnTo>
                    <a:pt x="1372" y="168"/>
                  </a:lnTo>
                  <a:lnTo>
                    <a:pt x="1303" y="180"/>
                  </a:lnTo>
                  <a:lnTo>
                    <a:pt x="1235" y="192"/>
                  </a:lnTo>
                  <a:lnTo>
                    <a:pt x="1166" y="203"/>
                  </a:lnTo>
                  <a:lnTo>
                    <a:pt x="1099" y="216"/>
                  </a:lnTo>
                  <a:lnTo>
                    <a:pt x="1032" y="228"/>
                  </a:lnTo>
                  <a:lnTo>
                    <a:pt x="966" y="240"/>
                  </a:lnTo>
                  <a:lnTo>
                    <a:pt x="900" y="252"/>
                  </a:lnTo>
                  <a:lnTo>
                    <a:pt x="835" y="264"/>
                  </a:lnTo>
                  <a:lnTo>
                    <a:pt x="771" y="277"/>
                  </a:lnTo>
                  <a:lnTo>
                    <a:pt x="707" y="289"/>
                  </a:lnTo>
                  <a:lnTo>
                    <a:pt x="644" y="302"/>
                  </a:lnTo>
                  <a:lnTo>
                    <a:pt x="653" y="343"/>
                  </a:lnTo>
                  <a:lnTo>
                    <a:pt x="662" y="382"/>
                  </a:lnTo>
                  <a:lnTo>
                    <a:pt x="675" y="421"/>
                  </a:lnTo>
                  <a:lnTo>
                    <a:pt x="687" y="458"/>
                  </a:lnTo>
                  <a:lnTo>
                    <a:pt x="701" y="496"/>
                  </a:lnTo>
                  <a:lnTo>
                    <a:pt x="716" y="532"/>
                  </a:lnTo>
                  <a:lnTo>
                    <a:pt x="732" y="568"/>
                  </a:lnTo>
                  <a:lnTo>
                    <a:pt x="749" y="602"/>
                  </a:lnTo>
                  <a:lnTo>
                    <a:pt x="768" y="636"/>
                  </a:lnTo>
                  <a:lnTo>
                    <a:pt x="788" y="669"/>
                  </a:lnTo>
                  <a:lnTo>
                    <a:pt x="808" y="702"/>
                  </a:lnTo>
                  <a:lnTo>
                    <a:pt x="830" y="733"/>
                  </a:lnTo>
                  <a:lnTo>
                    <a:pt x="853" y="765"/>
                  </a:lnTo>
                  <a:lnTo>
                    <a:pt x="878" y="796"/>
                  </a:lnTo>
                  <a:lnTo>
                    <a:pt x="902" y="826"/>
                  </a:lnTo>
                  <a:lnTo>
                    <a:pt x="928" y="856"/>
                  </a:lnTo>
                  <a:lnTo>
                    <a:pt x="955" y="886"/>
                  </a:lnTo>
                  <a:lnTo>
                    <a:pt x="984" y="915"/>
                  </a:lnTo>
                  <a:lnTo>
                    <a:pt x="1013" y="945"/>
                  </a:lnTo>
                  <a:lnTo>
                    <a:pt x="1043" y="973"/>
                  </a:lnTo>
                  <a:lnTo>
                    <a:pt x="1074" y="1002"/>
                  </a:lnTo>
                  <a:lnTo>
                    <a:pt x="1106" y="1030"/>
                  </a:lnTo>
                  <a:lnTo>
                    <a:pt x="1139" y="1059"/>
                  </a:lnTo>
                  <a:lnTo>
                    <a:pt x="1174" y="1086"/>
                  </a:lnTo>
                  <a:lnTo>
                    <a:pt x="1244" y="1142"/>
                  </a:lnTo>
                  <a:lnTo>
                    <a:pt x="1318" y="1199"/>
                  </a:lnTo>
                  <a:lnTo>
                    <a:pt x="1396" y="1256"/>
                  </a:lnTo>
                  <a:lnTo>
                    <a:pt x="1478" y="1314"/>
                  </a:lnTo>
                  <a:lnTo>
                    <a:pt x="1535" y="1350"/>
                  </a:lnTo>
                  <a:lnTo>
                    <a:pt x="1592" y="1386"/>
                  </a:lnTo>
                  <a:lnTo>
                    <a:pt x="1650" y="1422"/>
                  </a:lnTo>
                  <a:lnTo>
                    <a:pt x="1706" y="1458"/>
                  </a:lnTo>
                  <a:lnTo>
                    <a:pt x="1760" y="1493"/>
                  </a:lnTo>
                  <a:lnTo>
                    <a:pt x="1814" y="1528"/>
                  </a:lnTo>
                  <a:lnTo>
                    <a:pt x="1865" y="1562"/>
                  </a:lnTo>
                  <a:lnTo>
                    <a:pt x="1913" y="1597"/>
                  </a:lnTo>
                  <a:lnTo>
                    <a:pt x="1941" y="1618"/>
                  </a:lnTo>
                  <a:lnTo>
                    <a:pt x="1968" y="1641"/>
                  </a:lnTo>
                  <a:lnTo>
                    <a:pt x="1996" y="1664"/>
                  </a:lnTo>
                  <a:lnTo>
                    <a:pt x="2022" y="1688"/>
                  </a:lnTo>
                  <a:lnTo>
                    <a:pt x="2048" y="1713"/>
                  </a:lnTo>
                  <a:lnTo>
                    <a:pt x="2071" y="1739"/>
                  </a:lnTo>
                  <a:lnTo>
                    <a:pt x="2081" y="1751"/>
                  </a:lnTo>
                  <a:lnTo>
                    <a:pt x="2092" y="1765"/>
                  </a:lnTo>
                  <a:lnTo>
                    <a:pt x="2101" y="1778"/>
                  </a:lnTo>
                  <a:lnTo>
                    <a:pt x="2109" y="1793"/>
                  </a:lnTo>
                  <a:lnTo>
                    <a:pt x="2115" y="1809"/>
                  </a:lnTo>
                  <a:lnTo>
                    <a:pt x="2122" y="1825"/>
                  </a:lnTo>
                  <a:lnTo>
                    <a:pt x="2126" y="1841"/>
                  </a:lnTo>
                  <a:lnTo>
                    <a:pt x="2129" y="1857"/>
                  </a:lnTo>
                  <a:lnTo>
                    <a:pt x="2131" y="1871"/>
                  </a:lnTo>
                  <a:lnTo>
                    <a:pt x="2132" y="1886"/>
                  </a:lnTo>
                  <a:lnTo>
                    <a:pt x="2132" y="1899"/>
                  </a:lnTo>
                  <a:lnTo>
                    <a:pt x="2132" y="1913"/>
                  </a:lnTo>
                  <a:lnTo>
                    <a:pt x="2130" y="1935"/>
                  </a:lnTo>
                  <a:lnTo>
                    <a:pt x="2127" y="1955"/>
                  </a:lnTo>
                  <a:lnTo>
                    <a:pt x="2124" y="1970"/>
                  </a:lnTo>
                  <a:lnTo>
                    <a:pt x="2121" y="1981"/>
                  </a:lnTo>
                  <a:lnTo>
                    <a:pt x="2112" y="2008"/>
                  </a:lnTo>
                  <a:lnTo>
                    <a:pt x="2104" y="2033"/>
                  </a:lnTo>
                  <a:lnTo>
                    <a:pt x="2094" y="2058"/>
                  </a:lnTo>
                  <a:lnTo>
                    <a:pt x="2082" y="2082"/>
                  </a:lnTo>
                  <a:lnTo>
                    <a:pt x="2070" y="2104"/>
                  </a:lnTo>
                  <a:lnTo>
                    <a:pt x="2056" y="2124"/>
                  </a:lnTo>
                  <a:lnTo>
                    <a:pt x="2041" y="2144"/>
                  </a:lnTo>
                  <a:lnTo>
                    <a:pt x="2025" y="2162"/>
                  </a:lnTo>
                  <a:lnTo>
                    <a:pt x="2009" y="2180"/>
                  </a:lnTo>
                  <a:lnTo>
                    <a:pt x="1990" y="2197"/>
                  </a:lnTo>
                  <a:lnTo>
                    <a:pt x="1972" y="2212"/>
                  </a:lnTo>
                  <a:lnTo>
                    <a:pt x="1952" y="2225"/>
                  </a:lnTo>
                  <a:lnTo>
                    <a:pt x="1930" y="2239"/>
                  </a:lnTo>
                  <a:lnTo>
                    <a:pt x="1908" y="2251"/>
                  </a:lnTo>
                  <a:lnTo>
                    <a:pt x="1886" y="2263"/>
                  </a:lnTo>
                  <a:lnTo>
                    <a:pt x="1862" y="2273"/>
                  </a:lnTo>
                  <a:lnTo>
                    <a:pt x="1838" y="2282"/>
                  </a:lnTo>
                  <a:lnTo>
                    <a:pt x="1812" y="2292"/>
                  </a:lnTo>
                  <a:lnTo>
                    <a:pt x="1786" y="2300"/>
                  </a:lnTo>
                  <a:lnTo>
                    <a:pt x="1759" y="2307"/>
                  </a:lnTo>
                  <a:lnTo>
                    <a:pt x="1731" y="2313"/>
                  </a:lnTo>
                  <a:lnTo>
                    <a:pt x="1702" y="2318"/>
                  </a:lnTo>
                  <a:lnTo>
                    <a:pt x="1673" y="2324"/>
                  </a:lnTo>
                  <a:lnTo>
                    <a:pt x="1643" y="2329"/>
                  </a:lnTo>
                  <a:lnTo>
                    <a:pt x="1613" y="2332"/>
                  </a:lnTo>
                  <a:lnTo>
                    <a:pt x="1581" y="2335"/>
                  </a:lnTo>
                  <a:lnTo>
                    <a:pt x="1550" y="2338"/>
                  </a:lnTo>
                  <a:lnTo>
                    <a:pt x="1517" y="2340"/>
                  </a:lnTo>
                  <a:lnTo>
                    <a:pt x="1451" y="2343"/>
                  </a:lnTo>
                  <a:lnTo>
                    <a:pt x="1383" y="2344"/>
                  </a:lnTo>
                  <a:lnTo>
                    <a:pt x="1322" y="2344"/>
                  </a:lnTo>
                  <a:lnTo>
                    <a:pt x="1262" y="2343"/>
                  </a:lnTo>
                  <a:lnTo>
                    <a:pt x="1203" y="2342"/>
                  </a:lnTo>
                  <a:lnTo>
                    <a:pt x="1146" y="2340"/>
                  </a:lnTo>
                  <a:lnTo>
                    <a:pt x="1091" y="2337"/>
                  </a:lnTo>
                  <a:lnTo>
                    <a:pt x="1036" y="2334"/>
                  </a:lnTo>
                  <a:lnTo>
                    <a:pt x="984" y="2330"/>
                  </a:lnTo>
                  <a:lnTo>
                    <a:pt x="933" y="2325"/>
                  </a:lnTo>
                  <a:lnTo>
                    <a:pt x="836" y="2314"/>
                  </a:lnTo>
                  <a:lnTo>
                    <a:pt x="747" y="2303"/>
                  </a:lnTo>
                  <a:lnTo>
                    <a:pt x="664" y="2292"/>
                  </a:lnTo>
                  <a:lnTo>
                    <a:pt x="589" y="2278"/>
                  </a:lnTo>
                  <a:lnTo>
                    <a:pt x="522" y="2266"/>
                  </a:lnTo>
                  <a:lnTo>
                    <a:pt x="463" y="2253"/>
                  </a:lnTo>
                  <a:lnTo>
                    <a:pt x="411" y="2241"/>
                  </a:lnTo>
                  <a:lnTo>
                    <a:pt x="368" y="2231"/>
                  </a:lnTo>
                  <a:lnTo>
                    <a:pt x="335" y="2222"/>
                  </a:lnTo>
                  <a:lnTo>
                    <a:pt x="311" y="2215"/>
                  </a:lnTo>
                  <a:lnTo>
                    <a:pt x="296" y="2211"/>
                  </a:lnTo>
                  <a:lnTo>
                    <a:pt x="291" y="2209"/>
                  </a:lnTo>
                  <a:lnTo>
                    <a:pt x="0" y="3408"/>
                  </a:lnTo>
                  <a:lnTo>
                    <a:pt x="8" y="3410"/>
                  </a:lnTo>
                  <a:lnTo>
                    <a:pt x="33" y="3415"/>
                  </a:lnTo>
                  <a:lnTo>
                    <a:pt x="74" y="3422"/>
                  </a:lnTo>
                  <a:lnTo>
                    <a:pt x="131" y="3433"/>
                  </a:lnTo>
                  <a:lnTo>
                    <a:pt x="203" y="3445"/>
                  </a:lnTo>
                  <a:lnTo>
                    <a:pt x="289" y="3458"/>
                  </a:lnTo>
                  <a:lnTo>
                    <a:pt x="388" y="3471"/>
                  </a:lnTo>
                  <a:lnTo>
                    <a:pt x="501" y="3484"/>
                  </a:lnTo>
                  <a:lnTo>
                    <a:pt x="562" y="3491"/>
                  </a:lnTo>
                  <a:lnTo>
                    <a:pt x="626" y="3497"/>
                  </a:lnTo>
                  <a:lnTo>
                    <a:pt x="693" y="3503"/>
                  </a:lnTo>
                  <a:lnTo>
                    <a:pt x="763" y="3508"/>
                  </a:lnTo>
                  <a:lnTo>
                    <a:pt x="836" y="3513"/>
                  </a:lnTo>
                  <a:lnTo>
                    <a:pt x="911" y="3517"/>
                  </a:lnTo>
                  <a:lnTo>
                    <a:pt x="989" y="3522"/>
                  </a:lnTo>
                  <a:lnTo>
                    <a:pt x="1070" y="3525"/>
                  </a:lnTo>
                  <a:lnTo>
                    <a:pt x="1154" y="3528"/>
                  </a:lnTo>
                  <a:lnTo>
                    <a:pt x="1239" y="3529"/>
                  </a:lnTo>
                  <a:lnTo>
                    <a:pt x="1328" y="3530"/>
                  </a:lnTo>
                  <a:lnTo>
                    <a:pt x="1418" y="3529"/>
                  </a:lnTo>
                  <a:lnTo>
                    <a:pt x="1510" y="3528"/>
                  </a:lnTo>
                  <a:lnTo>
                    <a:pt x="1605" y="3526"/>
                  </a:lnTo>
                  <a:lnTo>
                    <a:pt x="1702" y="3522"/>
                  </a:lnTo>
                  <a:lnTo>
                    <a:pt x="1801" y="3517"/>
                  </a:lnTo>
                  <a:lnTo>
                    <a:pt x="1931" y="3507"/>
                  </a:lnTo>
                  <a:lnTo>
                    <a:pt x="2057" y="3493"/>
                  </a:lnTo>
                  <a:lnTo>
                    <a:pt x="2179" y="3474"/>
                  </a:lnTo>
                  <a:lnTo>
                    <a:pt x="2297" y="3450"/>
                  </a:lnTo>
                  <a:lnTo>
                    <a:pt x="2409" y="3422"/>
                  </a:lnTo>
                  <a:lnTo>
                    <a:pt x="2518" y="3389"/>
                  </a:lnTo>
                  <a:lnTo>
                    <a:pt x="2623" y="3353"/>
                  </a:lnTo>
                  <a:lnTo>
                    <a:pt x="2723" y="3314"/>
                  </a:lnTo>
                  <a:lnTo>
                    <a:pt x="2819" y="3271"/>
                  </a:lnTo>
                  <a:lnTo>
                    <a:pt x="2911" y="3223"/>
                  </a:lnTo>
                  <a:lnTo>
                    <a:pt x="2998" y="3173"/>
                  </a:lnTo>
                  <a:lnTo>
                    <a:pt x="3082" y="3119"/>
                  </a:lnTo>
                  <a:lnTo>
                    <a:pt x="3162" y="3062"/>
                  </a:lnTo>
                  <a:lnTo>
                    <a:pt x="3237" y="3003"/>
                  </a:lnTo>
                  <a:lnTo>
                    <a:pt x="3308" y="2941"/>
                  </a:lnTo>
                  <a:lnTo>
                    <a:pt x="3375" y="2876"/>
                  </a:lnTo>
                  <a:lnTo>
                    <a:pt x="3438" y="2809"/>
                  </a:lnTo>
                  <a:lnTo>
                    <a:pt x="3497" y="2740"/>
                  </a:lnTo>
                  <a:lnTo>
                    <a:pt x="3552" y="2669"/>
                  </a:lnTo>
                  <a:lnTo>
                    <a:pt x="3604" y="2596"/>
                  </a:lnTo>
                  <a:lnTo>
                    <a:pt x="3650" y="2521"/>
                  </a:lnTo>
                  <a:lnTo>
                    <a:pt x="3694" y="2445"/>
                  </a:lnTo>
                  <a:lnTo>
                    <a:pt x="3733" y="2367"/>
                  </a:lnTo>
                  <a:lnTo>
                    <a:pt x="3768" y="2288"/>
                  </a:lnTo>
                  <a:lnTo>
                    <a:pt x="3799" y="2209"/>
                  </a:lnTo>
                  <a:lnTo>
                    <a:pt x="3827" y="2128"/>
                  </a:lnTo>
                  <a:lnTo>
                    <a:pt x="3851" y="2047"/>
                  </a:lnTo>
                  <a:lnTo>
                    <a:pt x="3871" y="1965"/>
                  </a:lnTo>
                  <a:lnTo>
                    <a:pt x="3886" y="1883"/>
                  </a:lnTo>
                  <a:lnTo>
                    <a:pt x="3899" y="1800"/>
                  </a:lnTo>
                  <a:lnTo>
                    <a:pt x="3907" y="1717"/>
                  </a:lnTo>
                  <a:lnTo>
                    <a:pt x="3912" y="1635"/>
                  </a:lnTo>
                  <a:lnTo>
                    <a:pt x="3912" y="1583"/>
                  </a:lnTo>
                  <a:lnTo>
                    <a:pt x="3910" y="1533"/>
                  </a:lnTo>
                  <a:lnTo>
                    <a:pt x="3905" y="1483"/>
                  </a:lnTo>
                  <a:lnTo>
                    <a:pt x="3898" y="1434"/>
                  </a:lnTo>
                  <a:lnTo>
                    <a:pt x="3887" y="1387"/>
                  </a:lnTo>
                  <a:lnTo>
                    <a:pt x="3875" y="1340"/>
                  </a:lnTo>
                  <a:lnTo>
                    <a:pt x="3860" y="1295"/>
                  </a:lnTo>
                  <a:lnTo>
                    <a:pt x="3844" y="1251"/>
                  </a:lnTo>
                  <a:lnTo>
                    <a:pt x="3825" y="1206"/>
                  </a:lnTo>
                  <a:lnTo>
                    <a:pt x="3805" y="1164"/>
                  </a:lnTo>
                  <a:lnTo>
                    <a:pt x="3782" y="1122"/>
                  </a:lnTo>
                  <a:lnTo>
                    <a:pt x="3757" y="1080"/>
                  </a:lnTo>
                  <a:lnTo>
                    <a:pt x="3730" y="1040"/>
                  </a:lnTo>
                  <a:lnTo>
                    <a:pt x="3702" y="1000"/>
                  </a:lnTo>
                  <a:lnTo>
                    <a:pt x="3672" y="961"/>
                  </a:lnTo>
                  <a:lnTo>
                    <a:pt x="3641" y="922"/>
                  </a:lnTo>
                  <a:lnTo>
                    <a:pt x="3608" y="885"/>
                  </a:lnTo>
                  <a:lnTo>
                    <a:pt x="3575" y="848"/>
                  </a:lnTo>
                  <a:lnTo>
                    <a:pt x="3539" y="812"/>
                  </a:lnTo>
                  <a:lnTo>
                    <a:pt x="3502" y="776"/>
                  </a:lnTo>
                  <a:lnTo>
                    <a:pt x="3465" y="740"/>
                  </a:lnTo>
                  <a:lnTo>
                    <a:pt x="3427" y="706"/>
                  </a:lnTo>
                  <a:lnTo>
                    <a:pt x="3387" y="672"/>
                  </a:lnTo>
                  <a:lnTo>
                    <a:pt x="3347" y="639"/>
                  </a:lnTo>
                  <a:lnTo>
                    <a:pt x="3307" y="606"/>
                  </a:lnTo>
                  <a:lnTo>
                    <a:pt x="3265" y="573"/>
                  </a:lnTo>
                  <a:lnTo>
                    <a:pt x="3223" y="541"/>
                  </a:lnTo>
                  <a:lnTo>
                    <a:pt x="3180" y="509"/>
                  </a:lnTo>
                  <a:lnTo>
                    <a:pt x="3096" y="447"/>
                  </a:lnTo>
                  <a:lnTo>
                    <a:pt x="3009" y="38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E5F7165E-4763-4A78-8A1F-DE3B92157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01808" y="6094540"/>
              <a:ext cx="195150" cy="285091"/>
            </a:xfrm>
            <a:custGeom>
              <a:avLst/>
              <a:gdLst>
                <a:gd name="T0" fmla="*/ 2165 w 2638"/>
                <a:gd name="T1" fmla="*/ 2636 h 3868"/>
                <a:gd name="T2" fmla="*/ 2059 w 2638"/>
                <a:gd name="T3" fmla="*/ 2630 h 3868"/>
                <a:gd name="T4" fmla="*/ 1961 w 2638"/>
                <a:gd name="T5" fmla="*/ 2615 h 3868"/>
                <a:gd name="T6" fmla="*/ 1880 w 2638"/>
                <a:gd name="T7" fmla="*/ 2590 h 3868"/>
                <a:gd name="T8" fmla="*/ 1835 w 2638"/>
                <a:gd name="T9" fmla="*/ 2569 h 3868"/>
                <a:gd name="T10" fmla="*/ 1808 w 2638"/>
                <a:gd name="T11" fmla="*/ 2549 h 3868"/>
                <a:gd name="T12" fmla="*/ 1786 w 2638"/>
                <a:gd name="T13" fmla="*/ 2526 h 3868"/>
                <a:gd name="T14" fmla="*/ 1762 w 2638"/>
                <a:gd name="T15" fmla="*/ 2490 h 3868"/>
                <a:gd name="T16" fmla="*/ 1744 w 2638"/>
                <a:gd name="T17" fmla="*/ 2451 h 3868"/>
                <a:gd name="T18" fmla="*/ 1732 w 2638"/>
                <a:gd name="T19" fmla="*/ 2407 h 3868"/>
                <a:gd name="T20" fmla="*/ 1724 w 2638"/>
                <a:gd name="T21" fmla="*/ 2362 h 3868"/>
                <a:gd name="T22" fmla="*/ 1721 w 2638"/>
                <a:gd name="T23" fmla="*/ 2267 h 3868"/>
                <a:gd name="T24" fmla="*/ 1730 w 2638"/>
                <a:gd name="T25" fmla="*/ 2172 h 3868"/>
                <a:gd name="T26" fmla="*/ 2204 w 2638"/>
                <a:gd name="T27" fmla="*/ 0 h 3868"/>
                <a:gd name="T28" fmla="*/ 1895 w 2638"/>
                <a:gd name="T29" fmla="*/ 17 h 3868"/>
                <a:gd name="T30" fmla="*/ 1582 w 2638"/>
                <a:gd name="T31" fmla="*/ 33 h 3868"/>
                <a:gd name="T32" fmla="*/ 1267 w 2638"/>
                <a:gd name="T33" fmla="*/ 52 h 3868"/>
                <a:gd name="T34" fmla="*/ 950 w 2638"/>
                <a:gd name="T35" fmla="*/ 71 h 3868"/>
                <a:gd name="T36" fmla="*/ 633 w 2638"/>
                <a:gd name="T37" fmla="*/ 93 h 3868"/>
                <a:gd name="T38" fmla="*/ 474 w 2638"/>
                <a:gd name="T39" fmla="*/ 336 h 3868"/>
                <a:gd name="T40" fmla="*/ 391 w 2638"/>
                <a:gd name="T41" fmla="*/ 698 h 3868"/>
                <a:gd name="T42" fmla="*/ 306 w 2638"/>
                <a:gd name="T43" fmla="*/ 1068 h 3868"/>
                <a:gd name="T44" fmla="*/ 219 w 2638"/>
                <a:gd name="T45" fmla="*/ 1444 h 3868"/>
                <a:gd name="T46" fmla="*/ 132 w 2638"/>
                <a:gd name="T47" fmla="*/ 1823 h 3868"/>
                <a:gd name="T48" fmla="*/ 64 w 2638"/>
                <a:gd name="T49" fmla="*/ 2120 h 3868"/>
                <a:gd name="T50" fmla="*/ 38 w 2638"/>
                <a:gd name="T51" fmla="*/ 2255 h 3868"/>
                <a:gd name="T52" fmla="*/ 18 w 2638"/>
                <a:gd name="T53" fmla="*/ 2389 h 3868"/>
                <a:gd name="T54" fmla="*/ 5 w 2638"/>
                <a:gd name="T55" fmla="*/ 2524 h 3868"/>
                <a:gd name="T56" fmla="*/ 0 w 2638"/>
                <a:gd name="T57" fmla="*/ 2659 h 3868"/>
                <a:gd name="T58" fmla="*/ 5 w 2638"/>
                <a:gd name="T59" fmla="*/ 2793 h 3868"/>
                <a:gd name="T60" fmla="*/ 21 w 2638"/>
                <a:gd name="T61" fmla="*/ 2924 h 3868"/>
                <a:gd name="T62" fmla="*/ 48 w 2638"/>
                <a:gd name="T63" fmla="*/ 3052 h 3868"/>
                <a:gd name="T64" fmla="*/ 87 w 2638"/>
                <a:gd name="T65" fmla="*/ 3176 h 3868"/>
                <a:gd name="T66" fmla="*/ 141 w 2638"/>
                <a:gd name="T67" fmla="*/ 3295 h 3868"/>
                <a:gd name="T68" fmla="*/ 210 w 2638"/>
                <a:gd name="T69" fmla="*/ 3407 h 3868"/>
                <a:gd name="T70" fmla="*/ 274 w 2638"/>
                <a:gd name="T71" fmla="*/ 3488 h 3868"/>
                <a:gd name="T72" fmla="*/ 336 w 2638"/>
                <a:gd name="T73" fmla="*/ 3552 h 3868"/>
                <a:gd name="T74" fmla="*/ 406 w 2638"/>
                <a:gd name="T75" fmla="*/ 3612 h 3868"/>
                <a:gd name="T76" fmla="*/ 483 w 2638"/>
                <a:gd name="T77" fmla="*/ 3667 h 3868"/>
                <a:gd name="T78" fmla="*/ 568 w 2638"/>
                <a:gd name="T79" fmla="*/ 3717 h 3868"/>
                <a:gd name="T80" fmla="*/ 662 w 2638"/>
                <a:gd name="T81" fmla="*/ 3760 h 3868"/>
                <a:gd name="T82" fmla="*/ 766 w 2638"/>
                <a:gd name="T83" fmla="*/ 3798 h 3868"/>
                <a:gd name="T84" fmla="*/ 879 w 2638"/>
                <a:gd name="T85" fmla="*/ 3827 h 3868"/>
                <a:gd name="T86" fmla="*/ 1001 w 2638"/>
                <a:gd name="T87" fmla="*/ 3849 h 3868"/>
                <a:gd name="T88" fmla="*/ 1134 w 2638"/>
                <a:gd name="T89" fmla="*/ 3863 h 3868"/>
                <a:gd name="T90" fmla="*/ 1278 w 2638"/>
                <a:gd name="T91" fmla="*/ 3868 h 3868"/>
                <a:gd name="T92" fmla="*/ 1475 w 2638"/>
                <a:gd name="T93" fmla="*/ 3865 h 3868"/>
                <a:gd name="T94" fmla="*/ 1684 w 2638"/>
                <a:gd name="T95" fmla="*/ 3854 h 3868"/>
                <a:gd name="T96" fmla="*/ 1899 w 2638"/>
                <a:gd name="T97" fmla="*/ 3834 h 3868"/>
                <a:gd name="T98" fmla="*/ 2118 w 2638"/>
                <a:gd name="T99" fmla="*/ 3802 h 3868"/>
                <a:gd name="T100" fmla="*/ 2336 w 2638"/>
                <a:gd name="T101" fmla="*/ 3754 h 3868"/>
                <a:gd name="T102" fmla="*/ 2592 w 2638"/>
                <a:gd name="T103" fmla="*/ 2620 h 3868"/>
                <a:gd name="T104" fmla="*/ 2448 w 2638"/>
                <a:gd name="T105" fmla="*/ 2631 h 3868"/>
                <a:gd name="T106" fmla="*/ 2294 w 2638"/>
                <a:gd name="T107" fmla="*/ 2637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8" h="3868">
                  <a:moveTo>
                    <a:pt x="2241" y="2637"/>
                  </a:moveTo>
                  <a:lnTo>
                    <a:pt x="2202" y="2637"/>
                  </a:lnTo>
                  <a:lnTo>
                    <a:pt x="2165" y="2636"/>
                  </a:lnTo>
                  <a:lnTo>
                    <a:pt x="2129" y="2635"/>
                  </a:lnTo>
                  <a:lnTo>
                    <a:pt x="2093" y="2633"/>
                  </a:lnTo>
                  <a:lnTo>
                    <a:pt x="2059" y="2630"/>
                  </a:lnTo>
                  <a:lnTo>
                    <a:pt x="2024" y="2625"/>
                  </a:lnTo>
                  <a:lnTo>
                    <a:pt x="1992" y="2620"/>
                  </a:lnTo>
                  <a:lnTo>
                    <a:pt x="1961" y="2615"/>
                  </a:lnTo>
                  <a:lnTo>
                    <a:pt x="1932" y="2608"/>
                  </a:lnTo>
                  <a:lnTo>
                    <a:pt x="1905" y="2600"/>
                  </a:lnTo>
                  <a:lnTo>
                    <a:pt x="1880" y="2590"/>
                  </a:lnTo>
                  <a:lnTo>
                    <a:pt x="1856" y="2580"/>
                  </a:lnTo>
                  <a:lnTo>
                    <a:pt x="1845" y="2575"/>
                  </a:lnTo>
                  <a:lnTo>
                    <a:pt x="1835" y="2569"/>
                  </a:lnTo>
                  <a:lnTo>
                    <a:pt x="1826" y="2562"/>
                  </a:lnTo>
                  <a:lnTo>
                    <a:pt x="1816" y="2556"/>
                  </a:lnTo>
                  <a:lnTo>
                    <a:pt x="1808" y="2549"/>
                  </a:lnTo>
                  <a:lnTo>
                    <a:pt x="1800" y="2542"/>
                  </a:lnTo>
                  <a:lnTo>
                    <a:pt x="1794" y="2533"/>
                  </a:lnTo>
                  <a:lnTo>
                    <a:pt x="1786" y="2526"/>
                  </a:lnTo>
                  <a:lnTo>
                    <a:pt x="1778" y="2515"/>
                  </a:lnTo>
                  <a:lnTo>
                    <a:pt x="1770" y="2502"/>
                  </a:lnTo>
                  <a:lnTo>
                    <a:pt x="1762" y="2490"/>
                  </a:lnTo>
                  <a:lnTo>
                    <a:pt x="1755" y="2478"/>
                  </a:lnTo>
                  <a:lnTo>
                    <a:pt x="1749" y="2464"/>
                  </a:lnTo>
                  <a:lnTo>
                    <a:pt x="1744" y="2451"/>
                  </a:lnTo>
                  <a:lnTo>
                    <a:pt x="1739" y="2437"/>
                  </a:lnTo>
                  <a:lnTo>
                    <a:pt x="1735" y="2423"/>
                  </a:lnTo>
                  <a:lnTo>
                    <a:pt x="1732" y="2407"/>
                  </a:lnTo>
                  <a:lnTo>
                    <a:pt x="1728" y="2393"/>
                  </a:lnTo>
                  <a:lnTo>
                    <a:pt x="1725" y="2378"/>
                  </a:lnTo>
                  <a:lnTo>
                    <a:pt x="1724" y="2362"/>
                  </a:lnTo>
                  <a:lnTo>
                    <a:pt x="1721" y="2331"/>
                  </a:lnTo>
                  <a:lnTo>
                    <a:pt x="1720" y="2299"/>
                  </a:lnTo>
                  <a:lnTo>
                    <a:pt x="1721" y="2267"/>
                  </a:lnTo>
                  <a:lnTo>
                    <a:pt x="1723" y="2235"/>
                  </a:lnTo>
                  <a:lnTo>
                    <a:pt x="1726" y="2203"/>
                  </a:lnTo>
                  <a:lnTo>
                    <a:pt x="1730" y="2172"/>
                  </a:lnTo>
                  <a:lnTo>
                    <a:pt x="1740" y="2112"/>
                  </a:lnTo>
                  <a:lnTo>
                    <a:pt x="1749" y="2057"/>
                  </a:lnTo>
                  <a:lnTo>
                    <a:pt x="2204" y="0"/>
                  </a:lnTo>
                  <a:lnTo>
                    <a:pt x="2102" y="5"/>
                  </a:lnTo>
                  <a:lnTo>
                    <a:pt x="1999" y="11"/>
                  </a:lnTo>
                  <a:lnTo>
                    <a:pt x="1895" y="17"/>
                  </a:lnTo>
                  <a:lnTo>
                    <a:pt x="1790" y="22"/>
                  </a:lnTo>
                  <a:lnTo>
                    <a:pt x="1687" y="28"/>
                  </a:lnTo>
                  <a:lnTo>
                    <a:pt x="1582" y="33"/>
                  </a:lnTo>
                  <a:lnTo>
                    <a:pt x="1477" y="39"/>
                  </a:lnTo>
                  <a:lnTo>
                    <a:pt x="1372" y="46"/>
                  </a:lnTo>
                  <a:lnTo>
                    <a:pt x="1267" y="52"/>
                  </a:lnTo>
                  <a:lnTo>
                    <a:pt x="1161" y="59"/>
                  </a:lnTo>
                  <a:lnTo>
                    <a:pt x="1056" y="65"/>
                  </a:lnTo>
                  <a:lnTo>
                    <a:pt x="950" y="71"/>
                  </a:lnTo>
                  <a:lnTo>
                    <a:pt x="845" y="79"/>
                  </a:lnTo>
                  <a:lnTo>
                    <a:pt x="739" y="86"/>
                  </a:lnTo>
                  <a:lnTo>
                    <a:pt x="633" y="93"/>
                  </a:lnTo>
                  <a:lnTo>
                    <a:pt x="528" y="100"/>
                  </a:lnTo>
                  <a:lnTo>
                    <a:pt x="501" y="218"/>
                  </a:lnTo>
                  <a:lnTo>
                    <a:pt x="474" y="336"/>
                  </a:lnTo>
                  <a:lnTo>
                    <a:pt x="446" y="456"/>
                  </a:lnTo>
                  <a:lnTo>
                    <a:pt x="419" y="576"/>
                  </a:lnTo>
                  <a:lnTo>
                    <a:pt x="391" y="698"/>
                  </a:lnTo>
                  <a:lnTo>
                    <a:pt x="362" y="820"/>
                  </a:lnTo>
                  <a:lnTo>
                    <a:pt x="334" y="944"/>
                  </a:lnTo>
                  <a:lnTo>
                    <a:pt x="306" y="1068"/>
                  </a:lnTo>
                  <a:lnTo>
                    <a:pt x="277" y="1193"/>
                  </a:lnTo>
                  <a:lnTo>
                    <a:pt x="248" y="1318"/>
                  </a:lnTo>
                  <a:lnTo>
                    <a:pt x="219" y="1444"/>
                  </a:lnTo>
                  <a:lnTo>
                    <a:pt x="190" y="1570"/>
                  </a:lnTo>
                  <a:lnTo>
                    <a:pt x="161" y="1696"/>
                  </a:lnTo>
                  <a:lnTo>
                    <a:pt x="132" y="1823"/>
                  </a:lnTo>
                  <a:lnTo>
                    <a:pt x="103" y="1950"/>
                  </a:lnTo>
                  <a:lnTo>
                    <a:pt x="73" y="2077"/>
                  </a:lnTo>
                  <a:lnTo>
                    <a:pt x="64" y="2120"/>
                  </a:lnTo>
                  <a:lnTo>
                    <a:pt x="55" y="2165"/>
                  </a:lnTo>
                  <a:lnTo>
                    <a:pt x="47" y="2209"/>
                  </a:lnTo>
                  <a:lnTo>
                    <a:pt x="38" y="2255"/>
                  </a:lnTo>
                  <a:lnTo>
                    <a:pt x="31" y="2299"/>
                  </a:lnTo>
                  <a:lnTo>
                    <a:pt x="24" y="2344"/>
                  </a:lnTo>
                  <a:lnTo>
                    <a:pt x="18" y="2389"/>
                  </a:lnTo>
                  <a:lnTo>
                    <a:pt x="12" y="2434"/>
                  </a:lnTo>
                  <a:lnTo>
                    <a:pt x="8" y="2480"/>
                  </a:lnTo>
                  <a:lnTo>
                    <a:pt x="5" y="2524"/>
                  </a:lnTo>
                  <a:lnTo>
                    <a:pt x="2" y="2570"/>
                  </a:lnTo>
                  <a:lnTo>
                    <a:pt x="1" y="2614"/>
                  </a:lnTo>
                  <a:lnTo>
                    <a:pt x="0" y="2659"/>
                  </a:lnTo>
                  <a:lnTo>
                    <a:pt x="1" y="2704"/>
                  </a:lnTo>
                  <a:lnTo>
                    <a:pt x="2" y="2748"/>
                  </a:lnTo>
                  <a:lnTo>
                    <a:pt x="5" y="2793"/>
                  </a:lnTo>
                  <a:lnTo>
                    <a:pt x="9" y="2837"/>
                  </a:lnTo>
                  <a:lnTo>
                    <a:pt x="13" y="2880"/>
                  </a:lnTo>
                  <a:lnTo>
                    <a:pt x="21" y="2924"/>
                  </a:lnTo>
                  <a:lnTo>
                    <a:pt x="28" y="2967"/>
                  </a:lnTo>
                  <a:lnTo>
                    <a:pt x="37" y="3010"/>
                  </a:lnTo>
                  <a:lnTo>
                    <a:pt x="48" y="3052"/>
                  </a:lnTo>
                  <a:lnTo>
                    <a:pt x="59" y="3093"/>
                  </a:lnTo>
                  <a:lnTo>
                    <a:pt x="72" y="3135"/>
                  </a:lnTo>
                  <a:lnTo>
                    <a:pt x="87" y="3176"/>
                  </a:lnTo>
                  <a:lnTo>
                    <a:pt x="103" y="3216"/>
                  </a:lnTo>
                  <a:lnTo>
                    <a:pt x="121" y="3255"/>
                  </a:lnTo>
                  <a:lnTo>
                    <a:pt x="141" y="3295"/>
                  </a:lnTo>
                  <a:lnTo>
                    <a:pt x="162" y="3333"/>
                  </a:lnTo>
                  <a:lnTo>
                    <a:pt x="185" y="3370"/>
                  </a:lnTo>
                  <a:lnTo>
                    <a:pt x="210" y="3407"/>
                  </a:lnTo>
                  <a:lnTo>
                    <a:pt x="236" y="3443"/>
                  </a:lnTo>
                  <a:lnTo>
                    <a:pt x="255" y="3466"/>
                  </a:lnTo>
                  <a:lnTo>
                    <a:pt x="274" y="3488"/>
                  </a:lnTo>
                  <a:lnTo>
                    <a:pt x="294" y="3509"/>
                  </a:lnTo>
                  <a:lnTo>
                    <a:pt x="315" y="3531"/>
                  </a:lnTo>
                  <a:lnTo>
                    <a:pt x="336" y="3552"/>
                  </a:lnTo>
                  <a:lnTo>
                    <a:pt x="358" y="3572"/>
                  </a:lnTo>
                  <a:lnTo>
                    <a:pt x="382" y="3593"/>
                  </a:lnTo>
                  <a:lnTo>
                    <a:pt x="406" y="3612"/>
                  </a:lnTo>
                  <a:lnTo>
                    <a:pt x="431" y="3631"/>
                  </a:lnTo>
                  <a:lnTo>
                    <a:pt x="456" y="3650"/>
                  </a:lnTo>
                  <a:lnTo>
                    <a:pt x="483" y="3667"/>
                  </a:lnTo>
                  <a:lnTo>
                    <a:pt x="510" y="3684"/>
                  </a:lnTo>
                  <a:lnTo>
                    <a:pt x="539" y="3700"/>
                  </a:lnTo>
                  <a:lnTo>
                    <a:pt x="568" y="3717"/>
                  </a:lnTo>
                  <a:lnTo>
                    <a:pt x="598" y="3732"/>
                  </a:lnTo>
                  <a:lnTo>
                    <a:pt x="630" y="3747"/>
                  </a:lnTo>
                  <a:lnTo>
                    <a:pt x="662" y="3760"/>
                  </a:lnTo>
                  <a:lnTo>
                    <a:pt x="695" y="3774"/>
                  </a:lnTo>
                  <a:lnTo>
                    <a:pt x="730" y="3786"/>
                  </a:lnTo>
                  <a:lnTo>
                    <a:pt x="766" y="3798"/>
                  </a:lnTo>
                  <a:lnTo>
                    <a:pt x="802" y="3808"/>
                  </a:lnTo>
                  <a:lnTo>
                    <a:pt x="839" y="3818"/>
                  </a:lnTo>
                  <a:lnTo>
                    <a:pt x="879" y="3827"/>
                  </a:lnTo>
                  <a:lnTo>
                    <a:pt x="918" y="3836"/>
                  </a:lnTo>
                  <a:lnTo>
                    <a:pt x="958" y="3843"/>
                  </a:lnTo>
                  <a:lnTo>
                    <a:pt x="1001" y="3849"/>
                  </a:lnTo>
                  <a:lnTo>
                    <a:pt x="1044" y="3854"/>
                  </a:lnTo>
                  <a:lnTo>
                    <a:pt x="1089" y="3860"/>
                  </a:lnTo>
                  <a:lnTo>
                    <a:pt x="1134" y="3863"/>
                  </a:lnTo>
                  <a:lnTo>
                    <a:pt x="1181" y="3866"/>
                  </a:lnTo>
                  <a:lnTo>
                    <a:pt x="1228" y="3867"/>
                  </a:lnTo>
                  <a:lnTo>
                    <a:pt x="1278" y="3868"/>
                  </a:lnTo>
                  <a:lnTo>
                    <a:pt x="1342" y="3867"/>
                  </a:lnTo>
                  <a:lnTo>
                    <a:pt x="1408" y="3866"/>
                  </a:lnTo>
                  <a:lnTo>
                    <a:pt x="1475" y="3865"/>
                  </a:lnTo>
                  <a:lnTo>
                    <a:pt x="1543" y="3862"/>
                  </a:lnTo>
                  <a:lnTo>
                    <a:pt x="1612" y="3858"/>
                  </a:lnTo>
                  <a:lnTo>
                    <a:pt x="1684" y="3854"/>
                  </a:lnTo>
                  <a:lnTo>
                    <a:pt x="1754" y="3848"/>
                  </a:lnTo>
                  <a:lnTo>
                    <a:pt x="1827" y="3842"/>
                  </a:lnTo>
                  <a:lnTo>
                    <a:pt x="1899" y="3834"/>
                  </a:lnTo>
                  <a:lnTo>
                    <a:pt x="1972" y="3824"/>
                  </a:lnTo>
                  <a:lnTo>
                    <a:pt x="2045" y="3814"/>
                  </a:lnTo>
                  <a:lnTo>
                    <a:pt x="2118" y="3802"/>
                  </a:lnTo>
                  <a:lnTo>
                    <a:pt x="2191" y="3787"/>
                  </a:lnTo>
                  <a:lnTo>
                    <a:pt x="2263" y="3772"/>
                  </a:lnTo>
                  <a:lnTo>
                    <a:pt x="2336" y="3754"/>
                  </a:lnTo>
                  <a:lnTo>
                    <a:pt x="2407" y="3736"/>
                  </a:lnTo>
                  <a:lnTo>
                    <a:pt x="2638" y="2615"/>
                  </a:lnTo>
                  <a:lnTo>
                    <a:pt x="2592" y="2620"/>
                  </a:lnTo>
                  <a:lnTo>
                    <a:pt x="2545" y="2623"/>
                  </a:lnTo>
                  <a:lnTo>
                    <a:pt x="2496" y="2627"/>
                  </a:lnTo>
                  <a:lnTo>
                    <a:pt x="2448" y="2631"/>
                  </a:lnTo>
                  <a:lnTo>
                    <a:pt x="2398" y="2634"/>
                  </a:lnTo>
                  <a:lnTo>
                    <a:pt x="2346" y="2636"/>
                  </a:lnTo>
                  <a:lnTo>
                    <a:pt x="2294" y="2637"/>
                  </a:lnTo>
                  <a:lnTo>
                    <a:pt x="2241" y="2637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169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Wave |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3D41F95-8F8F-47ED-AAAD-E75655F10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51088" y="1700214"/>
            <a:ext cx="3457575" cy="4392000"/>
          </a:xfrm>
        </p:spPr>
        <p:txBody>
          <a:bodyPr tIns="18000" anchor="ctr"/>
          <a:lstStyle>
            <a:lvl1pPr algn="l">
              <a:defRPr sz="3600"/>
            </a:lvl1pPr>
          </a:lstStyle>
          <a:p>
            <a:r>
              <a:rPr lang="en-GB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865851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659" userDrawn="1">
          <p15:clr>
            <a:srgbClr val="F26B43"/>
          </p15:clr>
        </p15:guide>
        <p15:guide id="2" pos="4021" userDrawn="1">
          <p15:clr>
            <a:srgbClr val="F26B43"/>
          </p15:clr>
        </p15:guide>
        <p15:guide id="3" pos="1481" userDrawn="1">
          <p15:clr>
            <a:srgbClr val="F26B43"/>
          </p15:clr>
        </p15:guide>
        <p15:guide id="4" pos="6199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  <p15:guide id="7" pos="7469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CA3A5A-FC3B-4BB5-ACBF-184E4CB1CE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51584" y="2636912"/>
            <a:ext cx="7488832" cy="1512120"/>
          </a:xfrm>
        </p:spPr>
        <p:txBody>
          <a:bodyPr bIns="0" anchor="b"/>
          <a:lstStyle>
            <a:lvl1pPr>
              <a:defRPr sz="3600"/>
            </a:lvl1pPr>
          </a:lstStyle>
          <a:p>
            <a:r>
              <a:rPr lang="en-GB" dirty="0"/>
              <a:t>Divi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2D869F0-D2B4-45A5-8FB6-0F6295DC06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67808" y="4364458"/>
            <a:ext cx="5472608" cy="17288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GB" dirty="0"/>
              <a:t>Optional short description of the current chapter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291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481" userDrawn="1">
          <p15:clr>
            <a:srgbClr val="F26B43"/>
          </p15:clr>
        </p15:guide>
        <p15:guide id="2" pos="6199" userDrawn="1">
          <p15:clr>
            <a:srgbClr val="F26B43"/>
          </p15:clr>
        </p15:guide>
        <p15:guide id="3" pos="2751" userDrawn="1">
          <p15:clr>
            <a:srgbClr val="A4A3A4"/>
          </p15:clr>
        </p15:guide>
        <p15:guide id="4" orient="horz" pos="3838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9">
            <a:extLst>
              <a:ext uri="{FF2B5EF4-FFF2-40B4-BE49-F238E27FC236}">
                <a16:creationId xmlns:a16="http://schemas.microsoft.com/office/drawing/2014/main" id="{5057B741-146C-41D9-AB5C-8210AAF5D9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60D47CC-B098-4438-85FF-736CF88916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59" y="1700212"/>
            <a:ext cx="11521281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58EF8B2C-AAEF-4C0C-8734-81E08A8F5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D37F2AE5-AAF4-4546-83E0-978F73DEEC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0AA2F0A9-977C-4529-9A0A-931F9EB3A9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wo contents |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6384033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00AAD40-A57B-4285-B9F0-D5F1FA90F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60DE590-0024-4622-BE43-058DAE8E27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F545E80E-1A68-4F93-891E-3DDF404A8D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08CEFFD3-86A9-45B5-B3E6-353D05964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6294869D-4207-49B2-B6D7-FF9F86233E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157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3659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4021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wo contents |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1" y="1700212"/>
            <a:ext cx="7488832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57AF223A-9133-4CD7-A24F-37E750D20428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8400255" y="1700212"/>
            <a:ext cx="3456385" cy="4392613"/>
          </a:xfrm>
          <a:prstGeom prst="rect">
            <a:avLst/>
          </a:prstGeom>
        </p:spPr>
        <p:txBody>
          <a:bodyPr/>
          <a:lstStyle>
            <a:lvl1pPr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  <a:lvl6pPr>
              <a:defRPr sz="1600" b="0"/>
            </a:lvl6pPr>
            <a:lvl7pPr>
              <a:defRPr sz="1600" b="0"/>
            </a:lvl7pPr>
            <a:lvl8pPr>
              <a:defRPr sz="1600" b="0"/>
            </a:lvl8pPr>
            <a:lvl9pPr>
              <a:defRPr sz="1600"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D19567-FD19-4D38-B30B-7E2066A985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59DA4E4-3793-4F45-B5A1-1E576F8B7B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ED8BF548-EA41-4DED-B3E4-B97740EB20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6D186-3DD7-4771-919F-8DE8651C0E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BC363B5-786A-4A1E-981C-D658EB95CC2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508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4929" userDrawn="1">
          <p15:clr>
            <a:srgbClr val="F26B43"/>
          </p15:clr>
        </p15:guide>
        <p15:guide id="5" pos="5292" userDrawn="1">
          <p15:clr>
            <a:srgbClr val="F26B43"/>
          </p15:clr>
        </p15:guide>
        <p15:guide id="6" pos="7469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3456384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367808" y="1700213"/>
            <a:ext cx="3456384" cy="4392612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 bwMode="gray">
          <a:xfrm>
            <a:off x="8400257" y="1700212"/>
            <a:ext cx="3456384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  <a:lvl6pPr>
              <a:defRPr b="0"/>
            </a:lvl6pPr>
            <a:lvl7pPr>
              <a:defRPr b="0"/>
            </a:lvl7pPr>
            <a:lvl8pPr>
              <a:defRPr b="0"/>
            </a:lvl8pPr>
            <a:lvl9pPr>
              <a:defRPr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559B892-8AC0-4509-86CE-12729B880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973FB0-2897-4AF2-8709-AD7B14F5AC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32355AD8-79BB-446E-B418-75B4A82E22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3" name="Fußzeilenplatzhalter 22">
            <a:extLst>
              <a:ext uri="{FF2B5EF4-FFF2-40B4-BE49-F238E27FC236}">
                <a16:creationId xmlns:a16="http://schemas.microsoft.com/office/drawing/2014/main" id="{764EA279-28B3-4F23-9F4F-C390D8097A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4" name="Foliennummernplatzhalter 23">
            <a:extLst>
              <a:ext uri="{FF2B5EF4-FFF2-40B4-BE49-F238E27FC236}">
                <a16:creationId xmlns:a16="http://schemas.microsoft.com/office/drawing/2014/main" id="{0F6864F8-6DA1-494F-8F12-B9CF5BD90D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90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2389" userDrawn="1">
          <p15:clr>
            <a:srgbClr val="F26B43"/>
          </p15:clr>
        </p15:guide>
        <p15:guide id="5" pos="2751" userDrawn="1">
          <p15:clr>
            <a:srgbClr val="F26B43"/>
          </p15:clr>
        </p15:guide>
        <p15:guide id="6" pos="4929" userDrawn="1">
          <p15:clr>
            <a:srgbClr val="F26B43"/>
          </p15:clr>
        </p15:guide>
        <p15:guide id="7" pos="5292" userDrawn="1">
          <p15:clr>
            <a:srgbClr val="F26B43"/>
          </p15:clr>
        </p15:guide>
        <p15:guide id="8" pos="7469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One 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84032" y="1700213"/>
            <a:ext cx="5472608" cy="4392612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</a:t>
            </a:r>
            <a:br>
              <a:rPr lang="en-GB" dirty="0"/>
            </a:br>
            <a:r>
              <a:rPr lang="en-GB" dirty="0"/>
              <a:t>to add pictur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9CEF7C2-D8C0-4BB8-AD5C-BDD6588F8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ECA041DF-2CF8-4CBB-B4E8-79FC74A15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DC02713C-BFA6-44EA-B181-48B4FD972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353119-D679-4B08-92B3-298E3EA939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AFE5916-C314-42E4-A317-05A70360E1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0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pos="3659" userDrawn="1">
          <p15:clr>
            <a:srgbClr val="F26B43"/>
          </p15:clr>
        </p15:guide>
        <p15:guide id="4" pos="4021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468C915-B4F7-4BE0-AA6E-62C7414095C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640616" y="6309320"/>
            <a:ext cx="194335" cy="360000"/>
            <a:chOff x="-3985120" y="1211382"/>
            <a:chExt cx="2808077" cy="5201882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C6B6AD7-870C-4FFD-9F93-0D7F8880A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33488" y="1211382"/>
              <a:ext cx="1956445" cy="1496120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3281C5C-C908-4529-8ADA-34F1AF300521}"/>
                </a:ext>
              </a:extLst>
            </p:cNvPr>
            <p:cNvSpPr>
              <a:spLocks/>
            </p:cNvSpPr>
            <p:nvPr/>
          </p:nvSpPr>
          <p:spPr bwMode="gray">
            <a:xfrm>
              <a:off x="-3985120" y="3467061"/>
              <a:ext cx="2278689" cy="2946203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700212"/>
            <a:ext cx="11520000" cy="4392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4963" y="476672"/>
            <a:ext cx="11521677" cy="720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tit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816080" y="6453336"/>
            <a:ext cx="403244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08032" y="6453336"/>
            <a:ext cx="576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5" name="Gruppieren 24"/>
          <p:cNvGrpSpPr/>
          <p:nvPr userDrawn="1"/>
        </p:nvGrpSpPr>
        <p:grpSpPr bwMode="gray">
          <a:xfrm>
            <a:off x="-168688" y="1700808"/>
            <a:ext cx="72000" cy="4392488"/>
            <a:chOff x="-456728" y="1700808"/>
            <a:chExt cx="216000" cy="4392488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9329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E69A7-B6DC-4DCF-9C58-CCFC69EA496F}"/>
              </a:ext>
            </a:extLst>
          </p:cNvPr>
          <p:cNvGrpSpPr/>
          <p:nvPr userDrawn="1"/>
        </p:nvGrpSpPr>
        <p:grpSpPr bwMode="gray">
          <a:xfrm>
            <a:off x="335376" y="-171430"/>
            <a:ext cx="11521266" cy="72016"/>
            <a:chOff x="335376" y="-171430"/>
            <a:chExt cx="11521266" cy="72016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00FDB3D0-AA45-4DC1-BA34-B3FEC706C9FF}"/>
                </a:ext>
              </a:extLst>
            </p:cNvPr>
            <p:cNvGrpSpPr/>
            <p:nvPr userDrawn="1"/>
          </p:nvGrpSpPr>
          <p:grpSpPr bwMode="gray">
            <a:xfrm rot="5400000">
              <a:off x="8940313" y="-3015743"/>
              <a:ext cx="72016" cy="5760642"/>
              <a:chOff x="-456773" y="-5427968"/>
              <a:chExt cx="216048" cy="5760642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F44B90D-C1CE-4520-A6C7-7E9BED0CA564}"/>
                  </a:ext>
                </a:extLst>
              </p:cNvPr>
              <p:cNvCxnSpPr/>
              <p:nvPr userDrawn="1"/>
            </p:nvCxnSpPr>
            <p:spPr bwMode="gray">
              <a:xfrm>
                <a:off x="-456773" y="-5427968"/>
                <a:ext cx="216001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E486FD66-0D8C-47A6-843B-FADA70344D1F}"/>
                  </a:ext>
                </a:extLst>
              </p:cNvPr>
              <p:cNvCxnSpPr/>
              <p:nvPr userDrawn="1"/>
            </p:nvCxnSpPr>
            <p:spPr bwMode="gray">
              <a:xfrm>
                <a:off x="-456725" y="332674"/>
                <a:ext cx="216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E6BCC9AC-3976-43E8-8B55-CDD8B38B0D33}"/>
                </a:ext>
              </a:extLst>
            </p:cNvPr>
            <p:cNvCxnSpPr/>
            <p:nvPr userDrawn="1"/>
          </p:nvCxnSpPr>
          <p:spPr bwMode="gray">
            <a:xfrm rot="5400000">
              <a:off x="299376" y="-135414"/>
              <a:ext cx="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6037C19-2C82-4625-B93C-D1983B8EDD19}"/>
              </a:ext>
            </a:extLst>
          </p:cNvPr>
          <p:cNvGrpSpPr/>
          <p:nvPr userDrawn="1"/>
        </p:nvGrpSpPr>
        <p:grpSpPr bwMode="gray">
          <a:xfrm>
            <a:off x="335392" y="-243400"/>
            <a:ext cx="11521216" cy="72000"/>
            <a:chOff x="335392" y="-362160"/>
            <a:chExt cx="11521216" cy="118752"/>
          </a:xfrm>
          <a:solidFill>
            <a:schemeClr val="tx2"/>
          </a:solidFill>
        </p:grpSpPr>
        <p:sp>
          <p:nvSpPr>
            <p:cNvPr id="20" name="Rechteck 4">
              <a:extLst>
                <a:ext uri="{FF2B5EF4-FFF2-40B4-BE49-F238E27FC236}">
                  <a16:creationId xmlns:a16="http://schemas.microsoft.com/office/drawing/2014/main" id="{B8E4974D-797A-4C70-9592-7B489795DE6F}"/>
                </a:ext>
              </a:extLst>
            </p:cNvPr>
            <p:cNvSpPr/>
            <p:nvPr/>
          </p:nvSpPr>
          <p:spPr bwMode="gray">
            <a:xfrm>
              <a:off x="335392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58">
              <a:extLst>
                <a:ext uri="{FF2B5EF4-FFF2-40B4-BE49-F238E27FC236}">
                  <a16:creationId xmlns:a16="http://schemas.microsoft.com/office/drawing/2014/main" id="{D14E5C0F-FBFE-4EF7-9301-0EFB8C2D4D7B}"/>
                </a:ext>
              </a:extLst>
            </p:cNvPr>
            <p:cNvSpPr/>
            <p:nvPr/>
          </p:nvSpPr>
          <p:spPr bwMode="gray">
            <a:xfrm>
              <a:off x="1343503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60">
              <a:extLst>
                <a:ext uri="{FF2B5EF4-FFF2-40B4-BE49-F238E27FC236}">
                  <a16:creationId xmlns:a16="http://schemas.microsoft.com/office/drawing/2014/main" id="{08075A41-EE7F-4E2E-A852-84E15CB3DA87}"/>
                </a:ext>
              </a:extLst>
            </p:cNvPr>
            <p:cNvSpPr/>
            <p:nvPr/>
          </p:nvSpPr>
          <p:spPr bwMode="gray">
            <a:xfrm>
              <a:off x="2351614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62">
              <a:extLst>
                <a:ext uri="{FF2B5EF4-FFF2-40B4-BE49-F238E27FC236}">
                  <a16:creationId xmlns:a16="http://schemas.microsoft.com/office/drawing/2014/main" id="{BF61F426-BF58-4A79-A870-E5CF0E574332}"/>
                </a:ext>
              </a:extLst>
            </p:cNvPr>
            <p:cNvSpPr/>
            <p:nvPr/>
          </p:nvSpPr>
          <p:spPr bwMode="gray">
            <a:xfrm>
              <a:off x="3359725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64">
              <a:extLst>
                <a:ext uri="{FF2B5EF4-FFF2-40B4-BE49-F238E27FC236}">
                  <a16:creationId xmlns:a16="http://schemas.microsoft.com/office/drawing/2014/main" id="{1AE91219-6A4B-4087-AA97-35B2707A0082}"/>
                </a:ext>
              </a:extLst>
            </p:cNvPr>
            <p:cNvSpPr/>
            <p:nvPr/>
          </p:nvSpPr>
          <p:spPr bwMode="gray">
            <a:xfrm>
              <a:off x="4367836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66">
              <a:extLst>
                <a:ext uri="{FF2B5EF4-FFF2-40B4-BE49-F238E27FC236}">
                  <a16:creationId xmlns:a16="http://schemas.microsoft.com/office/drawing/2014/main" id="{4190025D-28A1-4871-865F-BB5DEA620951}"/>
                </a:ext>
              </a:extLst>
            </p:cNvPr>
            <p:cNvSpPr/>
            <p:nvPr/>
          </p:nvSpPr>
          <p:spPr bwMode="gray">
            <a:xfrm>
              <a:off x="5375947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68">
              <a:extLst>
                <a:ext uri="{FF2B5EF4-FFF2-40B4-BE49-F238E27FC236}">
                  <a16:creationId xmlns:a16="http://schemas.microsoft.com/office/drawing/2014/main" id="{22ED910F-F3EB-4F82-9D2D-586BEF39FAE5}"/>
                </a:ext>
              </a:extLst>
            </p:cNvPr>
            <p:cNvSpPr/>
            <p:nvPr/>
          </p:nvSpPr>
          <p:spPr bwMode="gray">
            <a:xfrm>
              <a:off x="6384058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62">
              <a:extLst>
                <a:ext uri="{FF2B5EF4-FFF2-40B4-BE49-F238E27FC236}">
                  <a16:creationId xmlns:a16="http://schemas.microsoft.com/office/drawing/2014/main" id="{524512B2-0834-4248-9AC4-08A606EA1C3A}"/>
                </a:ext>
              </a:extLst>
            </p:cNvPr>
            <p:cNvSpPr/>
            <p:nvPr/>
          </p:nvSpPr>
          <p:spPr bwMode="gray">
            <a:xfrm>
              <a:off x="7392169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64">
              <a:extLst>
                <a:ext uri="{FF2B5EF4-FFF2-40B4-BE49-F238E27FC236}">
                  <a16:creationId xmlns:a16="http://schemas.microsoft.com/office/drawing/2014/main" id="{E85E6A45-A66A-4704-ACF8-21CD1CFC1557}"/>
                </a:ext>
              </a:extLst>
            </p:cNvPr>
            <p:cNvSpPr/>
            <p:nvPr/>
          </p:nvSpPr>
          <p:spPr bwMode="gray">
            <a:xfrm>
              <a:off x="8400280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66">
              <a:extLst>
                <a:ext uri="{FF2B5EF4-FFF2-40B4-BE49-F238E27FC236}">
                  <a16:creationId xmlns:a16="http://schemas.microsoft.com/office/drawing/2014/main" id="{0D410D91-96FE-49B7-A165-341EEC5C2266}"/>
                </a:ext>
              </a:extLst>
            </p:cNvPr>
            <p:cNvSpPr/>
            <p:nvPr/>
          </p:nvSpPr>
          <p:spPr bwMode="gray">
            <a:xfrm>
              <a:off x="9408391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68">
              <a:extLst>
                <a:ext uri="{FF2B5EF4-FFF2-40B4-BE49-F238E27FC236}">
                  <a16:creationId xmlns:a16="http://schemas.microsoft.com/office/drawing/2014/main" id="{226A06E2-F134-4358-BE8A-7B0CE8FF8CB6}"/>
                </a:ext>
              </a:extLst>
            </p:cNvPr>
            <p:cNvSpPr/>
            <p:nvPr/>
          </p:nvSpPr>
          <p:spPr bwMode="gray">
            <a:xfrm>
              <a:off x="10416502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68">
              <a:extLst>
                <a:ext uri="{FF2B5EF4-FFF2-40B4-BE49-F238E27FC236}">
                  <a16:creationId xmlns:a16="http://schemas.microsoft.com/office/drawing/2014/main" id="{EE788FE9-3530-4F62-98AB-DADA4B33B64E}"/>
                </a:ext>
              </a:extLst>
            </p:cNvPr>
            <p:cNvSpPr/>
            <p:nvPr/>
          </p:nvSpPr>
          <p:spPr bwMode="gray">
            <a:xfrm>
              <a:off x="11424608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85C0078F-CDA9-4D4A-A94D-58BF2D4F94AC}"/>
              </a:ext>
            </a:extLst>
          </p:cNvPr>
          <p:cNvSpPr txBox="1"/>
          <p:nvPr userDrawn="1"/>
        </p:nvSpPr>
        <p:spPr bwMode="gray">
          <a:xfrm>
            <a:off x="407368" y="-142504"/>
            <a:ext cx="2376264" cy="7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0" indent="0"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 2" panose="05020102010507070707" pitchFamily="18" charset="2"/>
              <a:buNone/>
            </a:pPr>
            <a:r>
              <a:rPr lang="en-GB" sz="600" dirty="0"/>
              <a:t>Markers/docking points for guide lines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CDF2DF8-1236-4962-AA06-5E60DE2FC77D}"/>
              </a:ext>
            </a:extLst>
          </p:cNvPr>
          <p:cNvGrpSpPr/>
          <p:nvPr userDrawn="1"/>
        </p:nvGrpSpPr>
        <p:grpSpPr>
          <a:xfrm>
            <a:off x="12373783" y="14553"/>
            <a:ext cx="480483" cy="4516966"/>
            <a:chOff x="12336693" y="14553"/>
            <a:chExt cx="480483" cy="4516966"/>
          </a:xfrm>
        </p:grpSpPr>
        <p:sp>
          <p:nvSpPr>
            <p:cNvPr id="36" name="Rectangle 30">
              <a:extLst>
                <a:ext uri="{FF2B5EF4-FFF2-40B4-BE49-F238E27FC236}">
                  <a16:creationId xmlns:a16="http://schemas.microsoft.com/office/drawing/2014/main" id="{890499AA-3B64-4C59-AEAB-8709F44B590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3473185"/>
              <a:ext cx="480483" cy="480483"/>
            </a:xfrm>
            <a:prstGeom prst="rect">
              <a:avLst/>
            </a:prstGeom>
            <a:solidFill>
              <a:srgbClr val="F7CF6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4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0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02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" name="Rectangle 31">
              <a:extLst>
                <a:ext uri="{FF2B5EF4-FFF2-40B4-BE49-F238E27FC236}">
                  <a16:creationId xmlns:a16="http://schemas.microsoft.com/office/drawing/2014/main" id="{6BC62E58-2025-49C4-AA3E-39F1EDC7DCD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4051035"/>
              <a:ext cx="480483" cy="480484"/>
            </a:xfrm>
            <a:prstGeom prst="rect">
              <a:avLst/>
            </a:prstGeom>
            <a:solidFill>
              <a:srgbClr val="FADF99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5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2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53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" name="Rectangle 24">
              <a:extLst>
                <a:ext uri="{FF2B5EF4-FFF2-40B4-BE49-F238E27FC236}">
                  <a16:creationId xmlns:a16="http://schemas.microsoft.com/office/drawing/2014/main" id="{C0D52B1B-402B-4133-A73E-1F5D862F29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4553"/>
              <a:ext cx="480483" cy="480484"/>
            </a:xfrm>
            <a:prstGeom prst="rect">
              <a:avLst/>
            </a:prstGeom>
            <a:solidFill>
              <a:srgbClr val="E63F0C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23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6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12</a:t>
              </a:r>
              <a:endParaRPr lang="en-US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" name="Rectangle 25">
              <a:extLst>
                <a:ext uri="{FF2B5EF4-FFF2-40B4-BE49-F238E27FC236}">
                  <a16:creationId xmlns:a16="http://schemas.microsoft.com/office/drawing/2014/main" id="{3F9AB7A6-54EE-4D6A-9CD5-34773E5070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590286"/>
              <a:ext cx="480483" cy="480484"/>
            </a:xfrm>
            <a:prstGeom prst="rect">
              <a:avLst/>
            </a:prstGeom>
            <a:solidFill>
              <a:srgbClr val="EB653D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23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10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61</a:t>
              </a:r>
              <a:endParaRPr lang="en-US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0" name="Rectangle 26">
              <a:extLst>
                <a:ext uri="{FF2B5EF4-FFF2-40B4-BE49-F238E27FC236}">
                  <a16:creationId xmlns:a16="http://schemas.microsoft.com/office/drawing/2014/main" id="{57B0F84E-3881-49B6-8DB9-7AF0699D9EA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168136"/>
              <a:ext cx="480483" cy="480483"/>
            </a:xfrm>
            <a:prstGeom prst="rect">
              <a:avLst/>
            </a:prstGeom>
            <a:solidFill>
              <a:srgbClr val="F08C6D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09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1" name="Rectangle 27">
              <a:extLst>
                <a:ext uri="{FF2B5EF4-FFF2-40B4-BE49-F238E27FC236}">
                  <a16:creationId xmlns:a16="http://schemas.microsoft.com/office/drawing/2014/main" id="{436A6DFC-5901-4886-BA30-5089BCD57AF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743869"/>
              <a:ext cx="480483" cy="480483"/>
            </a:xfrm>
            <a:prstGeom prst="rect">
              <a:avLst/>
            </a:prstGeom>
            <a:solidFill>
              <a:srgbClr val="F5B29E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4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7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58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Rectangle 28">
              <a:extLst>
                <a:ext uri="{FF2B5EF4-FFF2-40B4-BE49-F238E27FC236}">
                  <a16:creationId xmlns:a16="http://schemas.microsoft.com/office/drawing/2014/main" id="{557DDA64-C596-428A-8926-ED63A060C72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2321719"/>
              <a:ext cx="480483" cy="480484"/>
            </a:xfrm>
            <a:prstGeom prst="rect">
              <a:avLst/>
            </a:prstGeom>
            <a:solidFill>
              <a:srgbClr val="F2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42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7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0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Rectangle 29">
              <a:extLst>
                <a:ext uri="{FF2B5EF4-FFF2-40B4-BE49-F238E27FC236}">
                  <a16:creationId xmlns:a16="http://schemas.microsoft.com/office/drawing/2014/main" id="{ADEF6DE2-A905-4298-AEF0-A1863AE333E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2897453"/>
              <a:ext cx="480483" cy="480484"/>
            </a:xfrm>
            <a:prstGeom prst="rect">
              <a:avLst/>
            </a:prstGeom>
            <a:solidFill>
              <a:srgbClr val="F5BF3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4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9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51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E2565C2D-1780-47C1-A3FD-9D83BA0241F1}"/>
              </a:ext>
            </a:extLst>
          </p:cNvPr>
          <p:cNvGrpSpPr/>
          <p:nvPr userDrawn="1"/>
        </p:nvGrpSpPr>
        <p:grpSpPr>
          <a:xfrm>
            <a:off x="-672752" y="-9525"/>
            <a:ext cx="490572" cy="6794663"/>
            <a:chOff x="-629885" y="-9525"/>
            <a:chExt cx="490572" cy="6794663"/>
          </a:xfrm>
        </p:grpSpPr>
        <p:sp>
          <p:nvSpPr>
            <p:cNvPr id="45" name="Rectangle 23">
              <a:extLst>
                <a:ext uri="{FF2B5EF4-FFF2-40B4-BE49-F238E27FC236}">
                  <a16:creationId xmlns:a16="http://schemas.microsoft.com/office/drawing/2014/main" id="{CC9AF601-8FBB-42E8-85BA-E1B24323AC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509" y="6304655"/>
              <a:ext cx="480483" cy="480483"/>
            </a:xfrm>
            <a:prstGeom prst="rect">
              <a:avLst/>
            </a:prstGeom>
            <a:solidFill>
              <a:srgbClr val="CEE199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06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2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53</a:t>
              </a:r>
            </a:p>
          </p:txBody>
        </p:sp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0133DDE4-1DC0-4CF5-B48E-CB5DB7E147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5733684"/>
              <a:ext cx="480483" cy="480483"/>
            </a:xfrm>
            <a:prstGeom prst="rect">
              <a:avLst/>
            </a:prstGeom>
            <a:solidFill>
              <a:srgbClr val="B5D26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8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21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black"/>
                  </a:solidFill>
                  <a:latin typeface="Arial"/>
                </a:rPr>
                <a:t>102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7" name="Rectangle 21">
              <a:extLst>
                <a:ext uri="{FF2B5EF4-FFF2-40B4-BE49-F238E27FC236}">
                  <a16:creationId xmlns:a16="http://schemas.microsoft.com/office/drawing/2014/main" id="{0E16E8FD-947F-4CC6-8DAC-3BFE854234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5185822"/>
              <a:ext cx="480483" cy="480484"/>
            </a:xfrm>
            <a:prstGeom prst="rect">
              <a:avLst/>
            </a:prstGeom>
            <a:solidFill>
              <a:srgbClr val="9DC33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5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9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51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8" name="Rectangle 20">
              <a:extLst>
                <a:ext uri="{FF2B5EF4-FFF2-40B4-BE49-F238E27FC236}">
                  <a16:creationId xmlns:a16="http://schemas.microsoft.com/office/drawing/2014/main" id="{B5FAADB0-A7BE-4694-BCAB-486AB456E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4610088"/>
              <a:ext cx="480483" cy="480484"/>
            </a:xfrm>
            <a:prstGeom prst="rect">
              <a:avLst/>
            </a:prstGeom>
            <a:solidFill>
              <a:srgbClr val="84B400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32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8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0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9" name="Rectangle 16">
              <a:extLst>
                <a:ext uri="{FF2B5EF4-FFF2-40B4-BE49-F238E27FC236}">
                  <a16:creationId xmlns:a16="http://schemas.microsoft.com/office/drawing/2014/main" id="{F7A19CCE-2A7F-490B-9739-EF1ED49858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606448"/>
              <a:ext cx="480483" cy="480484"/>
            </a:xfrm>
            <a:prstGeom prst="rect">
              <a:avLst/>
            </a:prstGeom>
            <a:solidFill>
              <a:srgbClr val="0A2864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1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>
                  <a:solidFill>
                    <a:prstClr val="white"/>
                  </a:solidFill>
                  <a:latin typeface="Arial"/>
                </a:rPr>
                <a:t>100</a:t>
              </a:r>
              <a:endParaRPr lang="en-US" sz="1067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0" name="Rectangle 17">
              <a:extLst>
                <a:ext uri="{FF2B5EF4-FFF2-40B4-BE49-F238E27FC236}">
                  <a16:creationId xmlns:a16="http://schemas.microsoft.com/office/drawing/2014/main" id="{F7CC265A-4E59-4EFF-AAF7-8CDB153E35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1182181"/>
              <a:ext cx="480483" cy="4804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5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120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1" name="Rectangle 18">
              <a:extLst>
                <a:ext uri="{FF2B5EF4-FFF2-40B4-BE49-F238E27FC236}">
                  <a16:creationId xmlns:a16="http://schemas.microsoft.com/office/drawing/2014/main" id="{C1C9D2AD-FAAF-4208-B9D8-B52A080BA5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1760032"/>
              <a:ext cx="480483" cy="4804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8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white"/>
                  </a:solidFill>
                  <a:latin typeface="Arial"/>
                </a:rPr>
                <a:t>180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2" name="Rectangle 19">
              <a:extLst>
                <a:ext uri="{FF2B5EF4-FFF2-40B4-BE49-F238E27FC236}">
                  <a16:creationId xmlns:a16="http://schemas.microsoft.com/office/drawing/2014/main" id="{0EE18E55-9F33-4436-B5E4-23FAD69CF7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2335765"/>
              <a:ext cx="480483" cy="48048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1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40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3" name="Rectangle 20">
              <a:extLst>
                <a:ext uri="{FF2B5EF4-FFF2-40B4-BE49-F238E27FC236}">
                  <a16:creationId xmlns:a16="http://schemas.microsoft.com/office/drawing/2014/main" id="{42707F3C-FD97-419E-8A89-4754EA287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3471156"/>
              <a:ext cx="480483" cy="4804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86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1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52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4" name="Rectangle 19">
              <a:extLst>
                <a:ext uri="{FF2B5EF4-FFF2-40B4-BE49-F238E27FC236}">
                  <a16:creationId xmlns:a16="http://schemas.microsoft.com/office/drawing/2014/main" id="{9A03A951-B6E2-46F1-A06E-C949DBF834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2913415"/>
              <a:ext cx="480483" cy="48048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2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184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48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3A4B18EE-1D0A-43D0-9049-722FFAF993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19796" y="-9525"/>
              <a:ext cx="480483" cy="480484"/>
            </a:xfrm>
            <a:prstGeom prst="rect">
              <a:avLst/>
            </a:prstGeom>
            <a:solidFill>
              <a:srgbClr val="D7D7D7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srgbClr val="000000"/>
                  </a:solidFill>
                  <a:latin typeface="Arial"/>
                </a:rPr>
                <a:t>21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srgbClr val="000000"/>
                  </a:solidFill>
                  <a:latin typeface="Arial"/>
                </a:rPr>
                <a:t>21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srgbClr val="000000"/>
                  </a:solidFill>
                  <a:latin typeface="Arial"/>
                </a:rPr>
                <a:t>215</a:t>
              </a:r>
            </a:p>
          </p:txBody>
        </p:sp>
        <p:sp>
          <p:nvSpPr>
            <p:cNvPr id="56" name="Rectangle 20">
              <a:extLst>
                <a:ext uri="{FF2B5EF4-FFF2-40B4-BE49-F238E27FC236}">
                  <a16:creationId xmlns:a16="http://schemas.microsoft.com/office/drawing/2014/main" id="{EC903293-F3D3-4D0A-8668-B4F2B6769E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8302" y="4042517"/>
              <a:ext cx="480483" cy="48048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19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3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67" dirty="0">
                  <a:solidFill>
                    <a:prstClr val="black"/>
                  </a:solidFill>
                  <a:latin typeface="Arial"/>
                </a:rPr>
                <a:t>253</a:t>
              </a:r>
              <a:endParaRPr lang="en-US" sz="3200" dirty="0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649" r:id="rId2"/>
    <p:sldLayoutId id="2147483680" r:id="rId3"/>
    <p:sldLayoutId id="2147483682" r:id="rId4"/>
    <p:sldLayoutId id="2147483650" r:id="rId5"/>
    <p:sldLayoutId id="2147483652" r:id="rId6"/>
    <p:sldLayoutId id="2147483663" r:id="rId7"/>
    <p:sldLayoutId id="2147483659" r:id="rId8"/>
    <p:sldLayoutId id="2147483656" r:id="rId9"/>
    <p:sldLayoutId id="2147483708" r:id="rId10"/>
    <p:sldLayoutId id="2147483657" r:id="rId11"/>
    <p:sldLayoutId id="2147483654" r:id="rId12"/>
    <p:sldLayoutId id="2147483655" r:id="rId13"/>
    <p:sldLayoutId id="2147483713" r:id="rId14"/>
    <p:sldLayoutId id="2147483714" r:id="rId15"/>
    <p:sldLayoutId id="2147483715" r:id="rId16"/>
    <p:sldLayoutId id="2147483716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Wingdings 2" panose="05020102010507070707" pitchFamily="18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28.png"/><Relationship Id="rId7" Type="http://schemas.openxmlformats.org/officeDocument/2006/relationships/image" Target="../media/image3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jpe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7.png"/><Relationship Id="rId5" Type="http://schemas.openxmlformats.org/officeDocument/2006/relationships/image" Target="../media/image33.jpeg"/><Relationship Id="rId4" Type="http://schemas.openxmlformats.org/officeDocument/2006/relationships/image" Target="../media/image4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../4_powersonic/Informationsmodul_powersonic_3_radio_net%20Power%20Point%20Pr&#228;sentation_DE_neu.pptx" TargetMode="External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9.png"/><Relationship Id="rId5" Type="http://schemas.openxmlformats.org/officeDocument/2006/relationships/image" Target="../media/image45.png"/><Relationship Id="rId4" Type="http://schemas.openxmlformats.org/officeDocument/2006/relationships/image" Target="../media/image4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692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 txBox="1">
            <a:spLocks/>
          </p:cNvSpPr>
          <p:nvPr/>
        </p:nvSpPr>
        <p:spPr bwMode="gray">
          <a:xfrm>
            <a:off x="2135560" y="1700214"/>
            <a:ext cx="3673103" cy="4392000"/>
          </a:xfrm>
          <a:prstGeom prst="rect">
            <a:avLst/>
          </a:prstGeom>
        </p:spPr>
        <p:txBody>
          <a:bodyPr vert="horz" lIns="0" tIns="1800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BEE2AD-0627-456B-BF25-7FAE630C9418}"/>
              </a:ext>
            </a:extLst>
          </p:cNvPr>
          <p:cNvSpPr txBox="1">
            <a:spLocks/>
          </p:cNvSpPr>
          <p:nvPr/>
        </p:nvSpPr>
        <p:spPr>
          <a:xfrm>
            <a:off x="6383338" y="2342572"/>
            <a:ext cx="720774" cy="6480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1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18AE3E8-A120-48F0-ADEF-F876BDB6C410}"/>
              </a:ext>
            </a:extLst>
          </p:cNvPr>
          <p:cNvSpPr txBox="1">
            <a:spLocks/>
          </p:cNvSpPr>
          <p:nvPr/>
        </p:nvSpPr>
        <p:spPr>
          <a:xfrm>
            <a:off x="6383338" y="2990627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2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4032" y="3717032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>
                <a:solidFill>
                  <a:schemeClr val="bg2"/>
                </a:solidFill>
              </a:rPr>
              <a:t>3</a:t>
            </a:r>
            <a:r>
              <a:rPr lang="en-GB" sz="2800" dirty="0">
                <a:solidFill>
                  <a:schemeClr val="bg2"/>
                </a:solidFill>
              </a:rPr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404BEEE-062D-4B61-8986-4537511F693C}"/>
              </a:ext>
            </a:extLst>
          </p:cNvPr>
          <p:cNvSpPr txBox="1">
            <a:spLocks/>
          </p:cNvSpPr>
          <p:nvPr/>
        </p:nvSpPr>
        <p:spPr>
          <a:xfrm>
            <a:off x="7104112" y="2378085"/>
            <a:ext cx="3836790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OMS </a:t>
            </a:r>
            <a:r>
              <a:rPr lang="hu-HU" dirty="0"/>
              <a:t>és</a:t>
            </a:r>
            <a:r>
              <a:rPr lang="en-GB" dirty="0"/>
              <a:t> </a:t>
            </a:r>
            <a:r>
              <a:rPr lang="hu-HU" dirty="0" err="1"/>
              <a:t>v</a:t>
            </a:r>
            <a:r>
              <a:rPr lang="en-GB" dirty="0" err="1"/>
              <a:t>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EAD213C-C37D-4C92-A23E-1545B34B9A20}"/>
              </a:ext>
            </a:extLst>
          </p:cNvPr>
          <p:cNvSpPr txBox="1">
            <a:spLocks/>
          </p:cNvSpPr>
          <p:nvPr/>
        </p:nvSpPr>
        <p:spPr>
          <a:xfrm>
            <a:off x="7104112" y="3008401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ista </a:t>
            </a:r>
            <a:r>
              <a:rPr lang="hu-HU" dirty="0"/>
              <a:t>termék portfólió</a:t>
            </a:r>
            <a:endParaRPr lang="en-GB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76120" y="3717032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>
                <a:solidFill>
                  <a:schemeClr val="bg2"/>
                </a:solidFill>
              </a:rPr>
              <a:t>Rendszer felépítés</a:t>
            </a: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456040" y="4437112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/>
              <a:t>4</a:t>
            </a:r>
            <a:r>
              <a:rPr lang="en-GB" sz="2800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76120" y="4365104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Esettanulmán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7304036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MS </a:t>
            </a:r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1</a:t>
            </a:fld>
            <a:endParaRPr lang="en-GB"/>
          </a:p>
        </p:txBody>
      </p:sp>
      <p:grpSp>
        <p:nvGrpSpPr>
          <p:cNvPr id="7" name="Gruppieren 6"/>
          <p:cNvGrpSpPr/>
          <p:nvPr/>
        </p:nvGrpSpPr>
        <p:grpSpPr>
          <a:xfrm>
            <a:off x="6168008" y="1196704"/>
            <a:ext cx="4522810" cy="4536504"/>
            <a:chOff x="639941" y="1145363"/>
            <a:chExt cx="4522810" cy="4536504"/>
          </a:xfrm>
        </p:grpSpPr>
        <p:grpSp>
          <p:nvGrpSpPr>
            <p:cNvPr id="8" name="Gruppieren 7"/>
            <p:cNvGrpSpPr/>
            <p:nvPr/>
          </p:nvGrpSpPr>
          <p:grpSpPr>
            <a:xfrm>
              <a:off x="639941" y="1145363"/>
              <a:ext cx="3817856" cy="4536504"/>
              <a:chOff x="621960" y="1006331"/>
              <a:chExt cx="2483281" cy="3052978"/>
            </a:xfrm>
          </p:grpSpPr>
          <p:sp>
            <p:nvSpPr>
              <p:cNvPr id="12" name="Rectangle 7"/>
              <p:cNvSpPr>
                <a:spLocks noChangeArrowheads="1"/>
              </p:cNvSpPr>
              <p:nvPr/>
            </p:nvSpPr>
            <p:spPr bwMode="auto">
              <a:xfrm>
                <a:off x="621960" y="1896974"/>
                <a:ext cx="1398871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3" name="Rectangle 10"/>
              <p:cNvSpPr>
                <a:spLocks noChangeArrowheads="1"/>
              </p:cNvSpPr>
              <p:nvPr/>
            </p:nvSpPr>
            <p:spPr bwMode="auto">
              <a:xfrm>
                <a:off x="2017589" y="1896974"/>
                <a:ext cx="1082788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4" name="Rectangle 11"/>
              <p:cNvSpPr>
                <a:spLocks noChangeArrowheads="1"/>
              </p:cNvSpPr>
              <p:nvPr/>
            </p:nvSpPr>
            <p:spPr bwMode="auto">
              <a:xfrm>
                <a:off x="2784294" y="2149841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5" name="Rectangle 12"/>
              <p:cNvSpPr>
                <a:spLocks noChangeArrowheads="1"/>
              </p:cNvSpPr>
              <p:nvPr/>
            </p:nvSpPr>
            <p:spPr bwMode="auto">
              <a:xfrm>
                <a:off x="2563846" y="1922910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6" name="Rectangle 13"/>
              <p:cNvSpPr>
                <a:spLocks noChangeArrowheads="1"/>
              </p:cNvSpPr>
              <p:nvPr/>
            </p:nvSpPr>
            <p:spPr bwMode="auto">
              <a:xfrm>
                <a:off x="625201" y="2439989"/>
                <a:ext cx="1394009" cy="536532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7" name="Rectangle 14"/>
              <p:cNvSpPr>
                <a:spLocks noChangeArrowheads="1"/>
              </p:cNvSpPr>
              <p:nvPr/>
            </p:nvSpPr>
            <p:spPr bwMode="auto">
              <a:xfrm>
                <a:off x="2019211" y="2439989"/>
                <a:ext cx="1086030" cy="536532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8" name="Rectangle 15"/>
              <p:cNvSpPr>
                <a:spLocks noChangeArrowheads="1"/>
              </p:cNvSpPr>
              <p:nvPr/>
            </p:nvSpPr>
            <p:spPr bwMode="auto">
              <a:xfrm>
                <a:off x="2789157" y="2692855"/>
                <a:ext cx="225311" cy="267456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19" name="Rectangle 16"/>
              <p:cNvSpPr>
                <a:spLocks noChangeArrowheads="1"/>
              </p:cNvSpPr>
              <p:nvPr/>
            </p:nvSpPr>
            <p:spPr bwMode="auto">
              <a:xfrm>
                <a:off x="2568709" y="2465924"/>
                <a:ext cx="225311" cy="267456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0" name="Rectangle 17"/>
              <p:cNvSpPr>
                <a:spLocks noChangeArrowheads="1"/>
              </p:cNvSpPr>
              <p:nvPr/>
            </p:nvSpPr>
            <p:spPr bwMode="auto">
              <a:xfrm>
                <a:off x="621960" y="2976521"/>
                <a:ext cx="1398871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1" name="Rectangle 18"/>
              <p:cNvSpPr>
                <a:spLocks noChangeArrowheads="1"/>
              </p:cNvSpPr>
              <p:nvPr/>
            </p:nvSpPr>
            <p:spPr bwMode="auto">
              <a:xfrm>
                <a:off x="2017589" y="2976521"/>
                <a:ext cx="1082788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2" name="Rectangle 19"/>
              <p:cNvSpPr>
                <a:spLocks noChangeArrowheads="1"/>
              </p:cNvSpPr>
              <p:nvPr/>
            </p:nvSpPr>
            <p:spPr bwMode="auto">
              <a:xfrm>
                <a:off x="2784294" y="3221607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3" name="Rectangle 20"/>
              <p:cNvSpPr>
                <a:spLocks noChangeArrowheads="1"/>
              </p:cNvSpPr>
              <p:nvPr/>
            </p:nvSpPr>
            <p:spPr bwMode="auto">
              <a:xfrm>
                <a:off x="2563846" y="2994676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4" name="Rectangle 21"/>
              <p:cNvSpPr>
                <a:spLocks noChangeArrowheads="1"/>
              </p:cNvSpPr>
              <p:nvPr/>
            </p:nvSpPr>
            <p:spPr bwMode="auto">
              <a:xfrm>
                <a:off x="621960" y="3519536"/>
                <a:ext cx="1397251" cy="536532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5" name="Rectangle 22"/>
              <p:cNvSpPr>
                <a:spLocks noChangeArrowheads="1"/>
              </p:cNvSpPr>
              <p:nvPr/>
            </p:nvSpPr>
            <p:spPr bwMode="auto">
              <a:xfrm>
                <a:off x="2019211" y="3519536"/>
                <a:ext cx="1086030" cy="536532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6" name="Rectangle 23"/>
              <p:cNvSpPr>
                <a:spLocks noChangeArrowheads="1"/>
              </p:cNvSpPr>
              <p:nvPr/>
            </p:nvSpPr>
            <p:spPr bwMode="auto">
              <a:xfrm>
                <a:off x="2789157" y="3764621"/>
                <a:ext cx="225311" cy="267456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27" name="Rectangle 24"/>
              <p:cNvSpPr>
                <a:spLocks noChangeArrowheads="1"/>
              </p:cNvSpPr>
              <p:nvPr/>
            </p:nvSpPr>
            <p:spPr bwMode="auto">
              <a:xfrm>
                <a:off x="2568709" y="3537690"/>
                <a:ext cx="225311" cy="267456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pic>
            <p:nvPicPr>
              <p:cNvPr id="28" name="Picture 89" descr="submeter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660" y="1914804"/>
                <a:ext cx="803986" cy="479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" name="Picture 90" descr="submeter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660" y="2454578"/>
                <a:ext cx="803986" cy="479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" name="Picture 91" descr="submeter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660" y="2992730"/>
                <a:ext cx="803986" cy="479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1" name="Picture 92" descr="submeter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660" y="3532503"/>
                <a:ext cx="803986" cy="479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AutoShape 5"/>
              <p:cNvSpPr>
                <a:spLocks noChangeArrowheads="1"/>
              </p:cNvSpPr>
              <p:nvPr/>
            </p:nvSpPr>
            <p:spPr bwMode="auto">
              <a:xfrm>
                <a:off x="621960" y="1006331"/>
                <a:ext cx="2471934" cy="366333"/>
              </a:xfrm>
              <a:prstGeom prst="triangle">
                <a:avLst>
                  <a:gd name="adj" fmla="val 50000"/>
                </a:avLst>
              </a:prstGeom>
              <a:solidFill>
                <a:srgbClr val="0A2864">
                  <a:alpha val="20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33" name="Rectangle 7"/>
              <p:cNvSpPr>
                <a:spLocks noChangeArrowheads="1"/>
              </p:cNvSpPr>
              <p:nvPr/>
            </p:nvSpPr>
            <p:spPr bwMode="auto">
              <a:xfrm>
                <a:off x="621960" y="1372664"/>
                <a:ext cx="1398871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34" name="Rectangle 10"/>
              <p:cNvSpPr>
                <a:spLocks noChangeArrowheads="1"/>
              </p:cNvSpPr>
              <p:nvPr/>
            </p:nvSpPr>
            <p:spPr bwMode="auto">
              <a:xfrm>
                <a:off x="2017589" y="1372664"/>
                <a:ext cx="1082788" cy="536531"/>
              </a:xfrm>
              <a:prstGeom prst="rect">
                <a:avLst/>
              </a:prstGeom>
              <a:solidFill>
                <a:srgbClr val="0A2864">
                  <a:alpha val="20000"/>
                </a:srgbClr>
              </a:solidFill>
              <a:ln w="1905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eaLnBrk="0" fontAlgn="auto" hangingPunct="0">
                  <a:spcAft>
                    <a:spcPts val="0"/>
                  </a:spcAft>
                  <a:defRPr/>
                </a:pPr>
                <a:endParaRPr lang="de-DE" altLang="en-US" sz="2451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35" name="Rectangle 11"/>
              <p:cNvSpPr>
                <a:spLocks noChangeArrowheads="1"/>
              </p:cNvSpPr>
              <p:nvPr/>
            </p:nvSpPr>
            <p:spPr bwMode="auto">
              <a:xfrm>
                <a:off x="2784294" y="1617750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sp>
            <p:nvSpPr>
              <p:cNvPr id="36" name="Rectangle 12"/>
              <p:cNvSpPr>
                <a:spLocks noChangeArrowheads="1"/>
              </p:cNvSpPr>
              <p:nvPr/>
            </p:nvSpPr>
            <p:spPr bwMode="auto">
              <a:xfrm>
                <a:off x="2563846" y="1390819"/>
                <a:ext cx="225310" cy="267455"/>
              </a:xfrm>
              <a:prstGeom prst="rect">
                <a:avLst/>
              </a:prstGeom>
              <a:pattFill prst="dkHorz">
                <a:fgClr>
                  <a:srgbClr val="C9D0DD"/>
                </a:fgClr>
                <a:bgClr>
                  <a:srgbClr val="FFFFFF"/>
                </a:bgClr>
              </a:pattFill>
              <a:ln w="19050" algn="ctr">
                <a:solidFill>
                  <a:srgbClr val="C9D0DD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Aft>
                    <a:spcPts val="0"/>
                  </a:spcAft>
                  <a:defRPr/>
                </a:pPr>
                <a:endParaRPr lang="de-DE" sz="1225" kern="0">
                  <a:solidFill>
                    <a:srgbClr val="0A2864"/>
                  </a:solidFill>
                </a:endParaRPr>
              </a:p>
            </p:txBody>
          </p:sp>
          <p:pic>
            <p:nvPicPr>
              <p:cNvPr id="37" name="Picture 89" descr="submeter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1660" y="1390494"/>
                <a:ext cx="803986" cy="4797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Grafik 37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95647" y="1416006"/>
                <a:ext cx="379649" cy="498754"/>
              </a:xfrm>
              <a:prstGeom prst="rect">
                <a:avLst/>
              </a:prstGeom>
            </p:spPr>
          </p:pic>
          <p:pic>
            <p:nvPicPr>
              <p:cNvPr id="39" name="Grafik 38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95647" y="1945081"/>
                <a:ext cx="379649" cy="498754"/>
              </a:xfrm>
              <a:prstGeom prst="rect">
                <a:avLst/>
              </a:prstGeom>
            </p:spPr>
          </p:pic>
          <p:pic>
            <p:nvPicPr>
              <p:cNvPr id="40" name="Grafik 39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95647" y="2483678"/>
                <a:ext cx="379649" cy="498754"/>
              </a:xfrm>
              <a:prstGeom prst="rect">
                <a:avLst/>
              </a:prstGeom>
            </p:spPr>
          </p:pic>
          <p:pic>
            <p:nvPicPr>
              <p:cNvPr id="41" name="Grafik 40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95647" y="3012753"/>
                <a:ext cx="379649" cy="498754"/>
              </a:xfrm>
              <a:prstGeom prst="rect">
                <a:avLst/>
              </a:prstGeom>
            </p:spPr>
          </p:pic>
          <p:pic>
            <p:nvPicPr>
              <p:cNvPr id="42" name="Grafik 41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1495647" y="3560555"/>
                <a:ext cx="379649" cy="498754"/>
              </a:xfrm>
              <a:prstGeom prst="rect">
                <a:avLst/>
              </a:prstGeom>
            </p:spPr>
          </p:pic>
          <p:pic>
            <p:nvPicPr>
              <p:cNvPr id="43" name="Grafik 42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rot="5400000">
                <a:off x="2443277" y="2238233"/>
                <a:ext cx="155635" cy="170073"/>
              </a:xfrm>
              <a:prstGeom prst="rect">
                <a:avLst/>
              </a:prstGeom>
            </p:spPr>
          </p:pic>
          <p:sp>
            <p:nvSpPr>
              <p:cNvPr id="44" name="AutoShape 98"/>
              <p:cNvSpPr>
                <a:spLocks noChangeArrowheads="1"/>
              </p:cNvSpPr>
              <p:nvPr/>
            </p:nvSpPr>
            <p:spPr bwMode="auto">
              <a:xfrm>
                <a:off x="2113521" y="2028495"/>
                <a:ext cx="350123" cy="220448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19050">
                <a:solidFill>
                  <a:srgbClr val="84B4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Aft>
                    <a:spcPts val="0"/>
                  </a:spcAft>
                  <a:defRPr/>
                </a:pPr>
                <a:r>
                  <a:rPr lang="en-GB" sz="817">
                    <a:solidFill>
                      <a:srgbClr val="84B400"/>
                    </a:solidFill>
                  </a:rPr>
                  <a:t>SGW</a:t>
                </a:r>
              </a:p>
            </p:txBody>
          </p:sp>
          <p:pic>
            <p:nvPicPr>
              <p:cNvPr id="45" name="Grafik 44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 rot="5400000">
                <a:off x="2443277" y="3304164"/>
                <a:ext cx="155635" cy="170073"/>
              </a:xfrm>
              <a:prstGeom prst="rect">
                <a:avLst/>
              </a:prstGeom>
            </p:spPr>
          </p:pic>
          <p:sp>
            <p:nvSpPr>
              <p:cNvPr id="46" name="AutoShape 98"/>
              <p:cNvSpPr>
                <a:spLocks noChangeArrowheads="1"/>
              </p:cNvSpPr>
              <p:nvPr/>
            </p:nvSpPr>
            <p:spPr bwMode="auto">
              <a:xfrm>
                <a:off x="2113521" y="3094425"/>
                <a:ext cx="350123" cy="220448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19050">
                <a:solidFill>
                  <a:srgbClr val="84B4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Aft>
                    <a:spcPts val="0"/>
                  </a:spcAft>
                  <a:defRPr/>
                </a:pPr>
                <a:r>
                  <a:rPr lang="en-GB" sz="817">
                    <a:solidFill>
                      <a:srgbClr val="84B400"/>
                    </a:solidFill>
                  </a:rPr>
                  <a:t>SGW</a:t>
                </a:r>
              </a:p>
            </p:txBody>
          </p:sp>
        </p:grpSp>
        <p:cxnSp>
          <p:nvCxnSpPr>
            <p:cNvPr id="9" name="Gewinkelte Verbindung 8"/>
            <p:cNvCxnSpPr/>
            <p:nvPr/>
          </p:nvCxnSpPr>
          <p:spPr bwMode="auto">
            <a:xfrm flipV="1">
              <a:off x="3458688" y="3612477"/>
              <a:ext cx="1210396" cy="788977"/>
            </a:xfrm>
            <a:prstGeom prst="bentConnector3">
              <a:avLst>
                <a:gd name="adj1" fmla="val 92148"/>
              </a:avLst>
            </a:prstGeom>
            <a:solidFill>
              <a:schemeClr val="bg2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winkelte Verbindung 9"/>
            <p:cNvCxnSpPr/>
            <p:nvPr/>
          </p:nvCxnSpPr>
          <p:spPr bwMode="auto">
            <a:xfrm>
              <a:off x="3470331" y="2832667"/>
              <a:ext cx="1198753" cy="779810"/>
            </a:xfrm>
            <a:prstGeom prst="bentConnector3">
              <a:avLst>
                <a:gd name="adj1" fmla="val 91632"/>
              </a:avLst>
            </a:prstGeom>
            <a:solidFill>
              <a:schemeClr val="bg2"/>
            </a:solidFill>
            <a:ln w="15875" cap="flat" cmpd="sng" algn="ctr">
              <a:solidFill>
                <a:srgbClr val="FFC000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773283" y="3434677"/>
              <a:ext cx="389468" cy="355600"/>
            </a:xfrm>
            <a:prstGeom prst="rect">
              <a:avLst/>
            </a:prstGeom>
          </p:spPr>
        </p:pic>
      </p:grpSp>
      <p:pic>
        <p:nvPicPr>
          <p:cNvPr id="47" name="Grafik 46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flipH="1">
            <a:off x="873255" y="2077870"/>
            <a:ext cx="4334016" cy="3171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3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1007435" y="-27383"/>
            <a:ext cx="10079567" cy="105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ctr" eaLnBrk="0" hangingPunct="0">
              <a:defRPr/>
            </a:pPr>
            <a:r>
              <a:rPr lang="hu-HU" sz="2200" b="1" i="1" kern="0" dirty="0">
                <a:solidFill>
                  <a:schemeClr val="bg2"/>
                </a:solidFill>
                <a:latin typeface="+mn-lt"/>
              </a:rPr>
              <a:t>ista G2.0e</a:t>
            </a:r>
            <a:br>
              <a:rPr lang="de-DE" sz="2200" b="1" i="1" kern="0" dirty="0">
                <a:solidFill>
                  <a:schemeClr val="bg2"/>
                </a:solidFill>
                <a:latin typeface="Ista TheSans Bold" pitchFamily="34" charset="0"/>
              </a:rPr>
            </a:br>
            <a:r>
              <a:rPr lang="hu-HU" sz="2200" kern="0" dirty="0">
                <a:solidFill>
                  <a:schemeClr val="bg2"/>
                </a:solidFill>
              </a:rPr>
              <a:t>központi adatgyűjtő egység</a:t>
            </a:r>
            <a:endParaRPr lang="de-DE" sz="2200" kern="0" dirty="0">
              <a:solidFill>
                <a:schemeClr val="bg2"/>
              </a:solidFill>
              <a:latin typeface="Ista TheSans Bold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gray">
          <a:xfrm>
            <a:off x="5135960" y="1412776"/>
            <a:ext cx="6720680" cy="4464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akár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800-1000 db végponti</a:t>
            </a:r>
            <a:r>
              <a:rPr kumimoji="0" lang="hu-HU" sz="16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eszköz kiolvasása</a:t>
            </a:r>
            <a:endParaRPr kumimoji="0" lang="hu-H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sz="1600" kern="0" dirty="0">
                <a:latin typeface="+mn-lt"/>
                <a:cs typeface="+mn-cs"/>
              </a:rPr>
              <a:t>i</a:t>
            </a:r>
            <a:r>
              <a:rPr kumimoji="0" lang="hu-HU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tegrált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SM/GPRS</a:t>
            </a:r>
            <a:r>
              <a:rPr kumimoji="0" lang="hu-HU" sz="1600" b="0" i="0" u="none" strike="noStrike" kern="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hu-HU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</a:t>
            </a:r>
            <a:r>
              <a:rPr kumimoji="0" lang="de-DE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dem</a:t>
            </a: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tárolt adatok</a:t>
            </a:r>
            <a:r>
              <a:rPr lang="de-DE" kern="0" dirty="0">
                <a:latin typeface="+mn-lt"/>
              </a:rPr>
              <a:t>:</a:t>
            </a:r>
            <a:endParaRPr lang="hu-HU" kern="0" dirty="0">
              <a:latin typeface="+mn-lt"/>
            </a:endParaRPr>
          </a:p>
          <a:p>
            <a:pPr marL="800100" lvl="1" indent="-342900" eaLnBrk="0" hangingPunct="0">
              <a:spcBef>
                <a:spcPct val="30000"/>
              </a:spcBef>
              <a:tabLst>
                <a:tab pos="1974850" algn="l"/>
              </a:tabLst>
            </a:pPr>
            <a:r>
              <a:rPr lang="hu-HU" kern="0" dirty="0">
                <a:latin typeface="+mn-lt"/>
              </a:rPr>
              <a:t>-&gt; utolsó 3 hónap napi kiolvasási értékei</a:t>
            </a:r>
            <a:r>
              <a:rPr lang="de-DE" kern="0" dirty="0">
                <a:latin typeface="+mn-lt"/>
              </a:rPr>
              <a:t> (</a:t>
            </a:r>
            <a:r>
              <a:rPr lang="hu-HU" kern="0" dirty="0">
                <a:latin typeface="+mn-lt"/>
              </a:rPr>
              <a:t>mindig</a:t>
            </a:r>
            <a:r>
              <a:rPr lang="de-DE" kern="0" dirty="0">
                <a:latin typeface="+mn-lt"/>
              </a:rPr>
              <a:t>)</a:t>
            </a:r>
            <a:endParaRPr lang="hu-HU" kern="0" dirty="0">
              <a:latin typeface="+mn-lt"/>
            </a:endParaRPr>
          </a:p>
          <a:p>
            <a:pPr marL="800100" lvl="1" indent="-342900" eaLnBrk="0" hangingPunct="0">
              <a:spcBef>
                <a:spcPct val="30000"/>
              </a:spcBef>
              <a:tabLst>
                <a:tab pos="1974850" algn="l"/>
              </a:tabLst>
            </a:pPr>
            <a:r>
              <a:rPr lang="hu-HU" kern="0" dirty="0">
                <a:latin typeface="+mn-lt"/>
              </a:rPr>
              <a:t>-&gt; 1</a:t>
            </a:r>
            <a:r>
              <a:rPr lang="de-DE" kern="0" dirty="0">
                <a:latin typeface="+mn-lt"/>
              </a:rPr>
              <a:t>8 </a:t>
            </a:r>
            <a:r>
              <a:rPr lang="hu-HU" kern="0" dirty="0" err="1">
                <a:latin typeface="+mn-lt"/>
              </a:rPr>
              <a:t>hóvégi</a:t>
            </a:r>
            <a:r>
              <a:rPr lang="de-DE" kern="0" dirty="0">
                <a:latin typeface="+mn-lt"/>
              </a:rPr>
              <a:t>- </a:t>
            </a:r>
            <a:r>
              <a:rPr lang="hu-HU" kern="0" dirty="0">
                <a:latin typeface="+mn-lt"/>
              </a:rPr>
              <a:t>és</a:t>
            </a:r>
            <a:r>
              <a:rPr lang="de-DE" kern="0" dirty="0">
                <a:latin typeface="+mn-lt"/>
              </a:rPr>
              <a:t> </a:t>
            </a:r>
            <a:r>
              <a:rPr lang="hu-HU" kern="0" dirty="0" err="1">
                <a:latin typeface="+mn-lt"/>
              </a:rPr>
              <a:t>hóközepi</a:t>
            </a:r>
            <a:r>
              <a:rPr lang="hu-HU" kern="0" dirty="0">
                <a:latin typeface="+mn-lt"/>
              </a:rPr>
              <a:t> kiolvasási érték</a:t>
            </a:r>
            <a:r>
              <a:rPr lang="de-DE" kern="0" dirty="0">
                <a:latin typeface="+mn-lt"/>
              </a:rPr>
              <a:t> </a:t>
            </a:r>
            <a:endParaRPr lang="hu-HU" kern="0" dirty="0">
              <a:latin typeface="+mn-lt"/>
            </a:endParaRPr>
          </a:p>
          <a:p>
            <a:pPr marL="187325" marR="0" lvl="1" indent="-1857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   </a:t>
            </a:r>
            <a:r>
              <a:rPr lang="de-DE" kern="0" dirty="0">
                <a:latin typeface="+mn-lt"/>
              </a:rPr>
              <a:t>3 </a:t>
            </a:r>
            <a:r>
              <a:rPr lang="hu-HU" kern="0" dirty="0">
                <a:latin typeface="+mn-lt"/>
              </a:rPr>
              <a:t>határnapi érték</a:t>
            </a:r>
            <a:endParaRPr lang="de-DE" kern="0" dirty="0">
              <a:latin typeface="+mn-lt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heti gyakoriságú automatikus kiolvasás ill. adattovábbítás, de napi bontásban, </a:t>
            </a:r>
            <a:r>
              <a:rPr lang="de-DE" kern="0" dirty="0">
                <a:latin typeface="+mn-lt"/>
              </a:rPr>
              <a:t>GPRS</a:t>
            </a:r>
            <a:r>
              <a:rPr lang="hu-HU" kern="0" dirty="0">
                <a:latin typeface="+mn-lt"/>
              </a:rPr>
              <a:t> –en keresztül</a:t>
            </a:r>
            <a:endParaRPr lang="de-DE" kern="0" dirty="0">
              <a:latin typeface="+mn-lt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tartós elem</a:t>
            </a:r>
            <a:r>
              <a:rPr lang="de-DE" kern="0" dirty="0">
                <a:latin typeface="+mn-lt"/>
              </a:rPr>
              <a:t> (10 + </a:t>
            </a:r>
            <a:r>
              <a:rPr lang="hu-HU" kern="0" dirty="0">
                <a:latin typeface="+mn-lt"/>
              </a:rPr>
              <a:t>2</a:t>
            </a:r>
            <a:r>
              <a:rPr lang="de-DE" kern="0" dirty="0">
                <a:latin typeface="+mn-lt"/>
              </a:rPr>
              <a:t> </a:t>
            </a:r>
            <a:r>
              <a:rPr lang="hu-HU" kern="0" dirty="0">
                <a:latin typeface="+mn-lt"/>
              </a:rPr>
              <a:t>év </a:t>
            </a:r>
            <a:r>
              <a:rPr lang="de-DE" kern="0" dirty="0">
                <a:latin typeface="+mn-lt"/>
              </a:rPr>
              <a:t>) </a:t>
            </a:r>
            <a:endParaRPr lang="hu-HU" kern="0" dirty="0">
              <a:latin typeface="+mn-lt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modulokkal bővíthető:</a:t>
            </a:r>
          </a:p>
          <a:p>
            <a:pPr marL="800100" lvl="1" indent="-342900" eaLnBrk="0" hangingPunct="0">
              <a:spcBef>
                <a:spcPct val="30000"/>
              </a:spcBef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-&gt; hálózati modul (napi gyakoriságú kiolvasás)</a:t>
            </a:r>
          </a:p>
          <a:p>
            <a:pPr marL="800100" lvl="1" indent="-342900" eaLnBrk="0" hangingPunct="0">
              <a:spcBef>
                <a:spcPct val="30000"/>
              </a:spcBef>
              <a:tabLst>
                <a:tab pos="1974850" algn="l"/>
              </a:tabLst>
              <a:defRPr/>
            </a:pPr>
            <a:r>
              <a:rPr lang="hu-HU" kern="0" dirty="0">
                <a:latin typeface="+mn-lt"/>
              </a:rPr>
              <a:t>-&gt; elem modul (heti kétszeri gyakoriságú kiolvasás)</a:t>
            </a:r>
          </a:p>
          <a:p>
            <a:pPr>
              <a:buFont typeface="Arial" pitchFamily="34" charset="0"/>
              <a:buChar char="•"/>
            </a:pPr>
            <a:r>
              <a:rPr lang="hu-HU" kern="0" dirty="0">
                <a:latin typeface="+mn-lt"/>
              </a:rPr>
              <a:t>     k</a:t>
            </a:r>
            <a:r>
              <a:rPr lang="hu-HU" dirty="0"/>
              <a:t>is méret és súly (193x110x45 mm, 638 g)</a:t>
            </a:r>
          </a:p>
          <a:p>
            <a:pPr marL="187325" marR="0" lvl="1" indent="-1857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Tx/>
              <a:tabLst>
                <a:tab pos="1974850" algn="l"/>
              </a:tabLst>
              <a:defRPr/>
            </a:pPr>
            <a:endParaRPr kumimoji="0" lang="hu-HU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974850" algn="l"/>
              </a:tabLst>
              <a:defRPr/>
            </a:pPr>
            <a:endParaRPr kumimoji="0" lang="de-DE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" name="Kép 4" descr="memonic 2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37736" y="1139483"/>
            <a:ext cx="3514048" cy="460013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fix adatgyűjtők telepítése – épület alagsorral/pincével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3</a:t>
            </a:fld>
            <a:endParaRPr lang="en-GB"/>
          </a:p>
        </p:txBody>
      </p:sp>
      <p:grpSp>
        <p:nvGrpSpPr>
          <p:cNvPr id="7" name="Gruppieren 6"/>
          <p:cNvGrpSpPr/>
          <p:nvPr/>
        </p:nvGrpSpPr>
        <p:grpSpPr>
          <a:xfrm>
            <a:off x="1393173" y="5525107"/>
            <a:ext cx="9405255" cy="277441"/>
            <a:chOff x="1393173" y="5404170"/>
            <a:chExt cx="9405255" cy="277441"/>
          </a:xfrm>
        </p:grpSpPr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28258" y="5404170"/>
              <a:ext cx="3135085" cy="277441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393173" y="5404170"/>
              <a:ext cx="3135085" cy="277441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63343" y="5404170"/>
              <a:ext cx="3135085" cy="277441"/>
            </a:xfrm>
            <a:prstGeom prst="rect">
              <a:avLst/>
            </a:prstGeom>
          </p:spPr>
        </p:pic>
      </p:grpSp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120336" y="2164286"/>
            <a:ext cx="1944216" cy="1944216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683732" y="1268760"/>
            <a:ext cx="4824536" cy="4011757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 bwMode="gray">
          <a:xfrm>
            <a:off x="695400" y="1700808"/>
            <a:ext cx="3323367" cy="3573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dirty="0"/>
              <a:t>Maximum </a:t>
            </a:r>
            <a:r>
              <a:rPr lang="hu-HU" dirty="0"/>
              <a:t>hatótávolság </a:t>
            </a:r>
            <a:r>
              <a:rPr lang="hu-HU" dirty="0" err="1"/>
              <a:t>kb</a:t>
            </a:r>
            <a:r>
              <a:rPr lang="en-GB" dirty="0"/>
              <a:t>. 30 m</a:t>
            </a:r>
          </a:p>
        </p:txBody>
      </p:sp>
    </p:spTree>
    <p:extLst>
      <p:ext uri="{BB962C8B-B14F-4D97-AF65-F5344CB8AC3E}">
        <p14:creationId xmlns:p14="http://schemas.microsoft.com/office/powerpoint/2010/main" val="106962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 cstate="print"/>
          <a:srcRect b="17132"/>
          <a:stretch/>
        </p:blipFill>
        <p:spPr>
          <a:xfrm>
            <a:off x="3575720" y="1352865"/>
            <a:ext cx="5059119" cy="3856046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1393173" y="5525107"/>
            <a:ext cx="9405255" cy="277441"/>
            <a:chOff x="1393173" y="5404170"/>
            <a:chExt cx="9405255" cy="277441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528258" y="5404170"/>
              <a:ext cx="3135085" cy="277441"/>
            </a:xfrm>
            <a:prstGeom prst="rect">
              <a:avLst/>
            </a:prstGeom>
          </p:spPr>
        </p:pic>
        <p:pic>
          <p:nvPicPr>
            <p:cNvPr id="10" name="Grafik 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393173" y="5404170"/>
              <a:ext cx="3135085" cy="277441"/>
            </a:xfrm>
            <a:prstGeom prst="rect">
              <a:avLst/>
            </a:prstGeom>
          </p:spPr>
        </p:pic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663343" y="5404170"/>
              <a:ext cx="3135085" cy="277441"/>
            </a:xfrm>
            <a:prstGeom prst="rect">
              <a:avLst/>
            </a:prstGeom>
          </p:spPr>
        </p:pic>
      </p:grpSp>
      <p:sp>
        <p:nvSpPr>
          <p:cNvPr id="12" name="Textfeld 11"/>
          <p:cNvSpPr txBox="1"/>
          <p:nvPr/>
        </p:nvSpPr>
        <p:spPr bwMode="gray">
          <a:xfrm>
            <a:off x="582669" y="1847494"/>
            <a:ext cx="3323367" cy="3573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dirty="0"/>
              <a:t>Maximum </a:t>
            </a:r>
            <a:r>
              <a:rPr lang="hu-HU" dirty="0"/>
              <a:t>hatótávolság </a:t>
            </a:r>
            <a:r>
              <a:rPr lang="hu-HU" dirty="0" err="1"/>
              <a:t>kb</a:t>
            </a:r>
            <a:r>
              <a:rPr lang="en-GB" dirty="0"/>
              <a:t>. 30 m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9120336" y="2164286"/>
            <a:ext cx="1944216" cy="194421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A fix adatgyűjtők telepítése – épület alagsor/pince nélkül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June 2020 ▪ ista International GmbH ▪ OMS /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6539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MM</a:t>
            </a:r>
            <a:r>
              <a:rPr lang="hu-HU" dirty="0"/>
              <a:t> rádiós rendszer (</a:t>
            </a:r>
            <a:r>
              <a:rPr lang="hu-HU" dirty="0" err="1"/>
              <a:t>automated</a:t>
            </a:r>
            <a:r>
              <a:rPr lang="hu-HU" dirty="0"/>
              <a:t> </a:t>
            </a:r>
            <a:r>
              <a:rPr lang="hu-HU" dirty="0" err="1"/>
              <a:t>meter</a:t>
            </a:r>
            <a:r>
              <a:rPr lang="hu-HU" dirty="0"/>
              <a:t> management) </a:t>
            </a:r>
            <a:r>
              <a:rPr lang="hu-HU" dirty="0" err="1"/>
              <a:t>vs</a:t>
            </a:r>
            <a:r>
              <a:rPr lang="hu-HU" dirty="0"/>
              <a:t> </a:t>
            </a:r>
            <a:r>
              <a:rPr lang="hu-HU" dirty="0" err="1"/>
              <a:t>wM-Bus</a:t>
            </a:r>
            <a:br>
              <a:rPr lang="en-GB" dirty="0"/>
            </a:b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5</a:t>
            </a:fld>
            <a:endParaRPr lang="en-GB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131221"/>
              </p:ext>
            </p:extLst>
          </p:nvPr>
        </p:nvGraphicFramePr>
        <p:xfrm>
          <a:off x="5303912" y="1289304"/>
          <a:ext cx="6552728" cy="5164032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41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285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71844"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3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hu-HU" sz="18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ezeték nélküli </a:t>
                      </a:r>
                      <a:r>
                        <a:rPr kumimoji="0" lang="hu-HU" sz="1800" b="0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-Buson</a:t>
                      </a:r>
                      <a:r>
                        <a:rPr kumimoji="0" lang="hu-HU" sz="18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lapuló rádió kommunikációs adatátvitel a mérők és az adatgyűjtők között</a:t>
                      </a:r>
                      <a:r>
                        <a:rPr kumimoji="0" lang="en-GB" sz="14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3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 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zközök ciklikus, titkosított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MS 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atokat küldenek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inden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 -15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percben, eszköztípustól függően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2813">
                <a:tc>
                  <a:txBody>
                    <a:bodyPr/>
                    <a:lstStyle/>
                    <a:p>
                      <a:endParaRPr lang="en-GB" sz="900" dirty="0"/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3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 elemmel üzemelő adatgyűjtők fogadják a vezeték nélküli </a:t>
                      </a:r>
                      <a:r>
                        <a:rPr kumimoji="0" lang="hu-HU" sz="1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-Bus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datokat rendszeres időközönként, tömörítik és továbbküldik az ista AMM rendszerébe a mobil hálózaton keresztül</a:t>
                      </a:r>
                      <a:endParaRPr kumimoji="0" lang="en-GB" sz="1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69375">
                <a:tc>
                  <a:txBody>
                    <a:bodyPr/>
                    <a:lstStyle/>
                    <a:p>
                      <a:endParaRPr lang="de-DE" sz="900" dirty="0"/>
                    </a:p>
                    <a:p>
                      <a:endParaRPr lang="de-DE" sz="900" dirty="0"/>
                    </a:p>
                    <a:p>
                      <a:endParaRPr lang="de-DE" sz="900" dirty="0"/>
                    </a:p>
                    <a:p>
                      <a:endParaRPr lang="de-DE" sz="900" dirty="0"/>
                    </a:p>
                    <a:p>
                      <a:endParaRPr lang="de-DE" sz="900" dirty="0"/>
                    </a:p>
                    <a:p>
                      <a:pPr algn="ctr"/>
                      <a:r>
                        <a:rPr lang="en-GB" sz="1400" b="1" dirty="0">
                          <a:solidFill>
                            <a:schemeClr val="accent1"/>
                          </a:solidFill>
                        </a:rPr>
                        <a:t>ista AMM </a:t>
                      </a:r>
                      <a:r>
                        <a:rPr lang="hu-HU" sz="1400" b="1" dirty="0">
                          <a:solidFill>
                            <a:schemeClr val="accent1"/>
                          </a:solidFill>
                        </a:rPr>
                        <a:t>rendszer </a:t>
                      </a:r>
                      <a:endParaRPr lang="en-GB" sz="1400" b="1" dirty="0">
                        <a:solidFill>
                          <a:schemeClr val="accent1"/>
                        </a:solidFill>
                      </a:endParaRPr>
                    </a:p>
                    <a:p>
                      <a:pPr algn="ctr"/>
                      <a:r>
                        <a:rPr lang="en-GB" sz="1400" dirty="0">
                          <a:solidFill>
                            <a:schemeClr val="accent1"/>
                          </a:solidFill>
                        </a:rPr>
                        <a:t>(Automated meter management)</a:t>
                      </a:r>
                    </a:p>
                  </a:txBody>
                  <a:tcPr marL="0" marR="0" marT="0" marB="0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buClr>
                          <a:schemeClr val="accent3"/>
                        </a:buClr>
                        <a:buFont typeface="Wingdings" panose="05000000000000000000" pitchFamily="2" charset="2"/>
                        <a:buChar char="ü"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z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M 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ndszer fix adatgyűjtők vezérlő központjaként működik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635000" lvl="1" indent="-177800">
                        <a:buClr>
                          <a:srgbClr val="0A2864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szköz-lista frissítése 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l. csere esetén</a:t>
                      </a: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635000" lvl="1" indent="-177800">
                        <a:buClr>
                          <a:srgbClr val="0A2864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kumimoji="0" lang="en-GB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kumimoji="0" lang="hu-HU" sz="1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oftver</a:t>
                      </a: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frissítés</a:t>
                      </a:r>
                      <a:endParaRPr kumimoji="0" lang="en-GB" sz="1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35000" lvl="1" indent="-177800">
                        <a:buClr>
                          <a:srgbClr val="0A2864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ételi minőség, eszköz hiba és általános státusz információk </a:t>
                      </a:r>
                      <a:r>
                        <a:rPr kumimoji="0" lang="hu-HU" sz="1800" b="0" i="0" u="none" strike="noStrike" kern="1200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nitoringja</a:t>
                      </a:r>
                      <a:endParaRPr kumimoji="0" lang="en-GB" sz="1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35000" lvl="1" indent="-177800">
                        <a:buClr>
                          <a:srgbClr val="0A2864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r>
                        <a:rPr kumimoji="0" lang="hu-HU" sz="18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iztonságos adatátvitel és kulcsok kezelése</a:t>
                      </a:r>
                      <a:endParaRPr kumimoji="0" lang="en-GB" sz="18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9" name="Gruppieren 8"/>
          <p:cNvGrpSpPr/>
          <p:nvPr/>
        </p:nvGrpSpPr>
        <p:grpSpPr>
          <a:xfrm>
            <a:off x="429591" y="1488086"/>
            <a:ext cx="3603017" cy="4332617"/>
            <a:chOff x="1325084" y="2089226"/>
            <a:chExt cx="2486487" cy="2989993"/>
          </a:xfrm>
        </p:grpSpPr>
        <p:sp>
          <p:nvSpPr>
            <p:cNvPr id="10" name="Rechteck 9"/>
            <p:cNvSpPr/>
            <p:nvPr/>
          </p:nvSpPr>
          <p:spPr bwMode="auto">
            <a:xfrm>
              <a:off x="1325084" y="4134241"/>
              <a:ext cx="2486487" cy="24115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895563">
                <a:spcBef>
                  <a:spcPct val="50000"/>
                </a:spcBef>
              </a:pPr>
              <a:endParaRPr lang="de-DE" sz="1567"/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1379521" y="2961494"/>
              <a:ext cx="1370012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2746357" y="2961494"/>
              <a:ext cx="1060450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3497245" y="3209145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3281345" y="2986895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1373557" y="3486956"/>
              <a:ext cx="1372801" cy="531813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16" name="Rectangle 14"/>
            <p:cNvSpPr>
              <a:spLocks noChangeArrowheads="1"/>
            </p:cNvSpPr>
            <p:nvPr/>
          </p:nvSpPr>
          <p:spPr bwMode="auto">
            <a:xfrm>
              <a:off x="2746357" y="3486956"/>
              <a:ext cx="1060451" cy="531813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17" name="Rectangle 15"/>
            <p:cNvSpPr>
              <a:spLocks noChangeArrowheads="1"/>
            </p:cNvSpPr>
            <p:nvPr/>
          </p:nvSpPr>
          <p:spPr bwMode="auto">
            <a:xfrm>
              <a:off x="3502008" y="3740956"/>
              <a:ext cx="220663" cy="261938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18" name="Rectangle 16"/>
            <p:cNvSpPr>
              <a:spLocks noChangeArrowheads="1"/>
            </p:cNvSpPr>
            <p:nvPr/>
          </p:nvSpPr>
          <p:spPr bwMode="auto">
            <a:xfrm>
              <a:off x="3286108" y="3518706"/>
              <a:ext cx="220663" cy="261938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19" name="Rectangle 17"/>
            <p:cNvSpPr>
              <a:spLocks noChangeArrowheads="1"/>
            </p:cNvSpPr>
            <p:nvPr/>
          </p:nvSpPr>
          <p:spPr bwMode="auto">
            <a:xfrm>
              <a:off x="1379521" y="4018770"/>
              <a:ext cx="1370012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20" name="Rectangle 18"/>
            <p:cNvSpPr>
              <a:spLocks noChangeArrowheads="1"/>
            </p:cNvSpPr>
            <p:nvPr/>
          </p:nvSpPr>
          <p:spPr bwMode="auto">
            <a:xfrm>
              <a:off x="2746357" y="4018770"/>
              <a:ext cx="1060450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21" name="Rectangle 19"/>
            <p:cNvSpPr>
              <a:spLocks noChangeArrowheads="1"/>
            </p:cNvSpPr>
            <p:nvPr/>
          </p:nvSpPr>
          <p:spPr bwMode="auto">
            <a:xfrm>
              <a:off x="3497245" y="4258800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22" name="Rectangle 20"/>
            <p:cNvSpPr>
              <a:spLocks noChangeArrowheads="1"/>
            </p:cNvSpPr>
            <p:nvPr/>
          </p:nvSpPr>
          <p:spPr bwMode="auto">
            <a:xfrm>
              <a:off x="3281345" y="4036550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23" name="Rectangle 21"/>
            <p:cNvSpPr>
              <a:spLocks noChangeArrowheads="1"/>
            </p:cNvSpPr>
            <p:nvPr/>
          </p:nvSpPr>
          <p:spPr bwMode="auto">
            <a:xfrm>
              <a:off x="1379521" y="4550582"/>
              <a:ext cx="1368425" cy="525463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24" name="Rectangle 22"/>
            <p:cNvSpPr>
              <a:spLocks noChangeArrowheads="1"/>
            </p:cNvSpPr>
            <p:nvPr/>
          </p:nvSpPr>
          <p:spPr bwMode="auto">
            <a:xfrm>
              <a:off x="2747946" y="4550582"/>
              <a:ext cx="1063625" cy="525463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25" name="Rectangle 23"/>
            <p:cNvSpPr>
              <a:spLocks noChangeArrowheads="1"/>
            </p:cNvSpPr>
            <p:nvPr/>
          </p:nvSpPr>
          <p:spPr bwMode="auto">
            <a:xfrm>
              <a:off x="3502008" y="4790611"/>
              <a:ext cx="220663" cy="261938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26" name="Rectangle 24"/>
            <p:cNvSpPr>
              <a:spLocks noChangeArrowheads="1"/>
            </p:cNvSpPr>
            <p:nvPr/>
          </p:nvSpPr>
          <p:spPr bwMode="auto">
            <a:xfrm>
              <a:off x="3286108" y="4568361"/>
              <a:ext cx="220663" cy="261938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pic>
          <p:nvPicPr>
            <p:cNvPr id="27" name="Picture 89" descr="submete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783" y="2978956"/>
              <a:ext cx="7874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90" descr="submete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783" y="3507594"/>
              <a:ext cx="7874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91" descr="submete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783" y="4034644"/>
              <a:ext cx="7874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92" descr="submete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783" y="4563281"/>
              <a:ext cx="7874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AutoShape 5"/>
            <p:cNvSpPr>
              <a:spLocks noChangeArrowheads="1"/>
            </p:cNvSpPr>
            <p:nvPr/>
          </p:nvSpPr>
          <p:spPr bwMode="auto">
            <a:xfrm>
              <a:off x="1379521" y="2089226"/>
              <a:ext cx="2420937" cy="358775"/>
            </a:xfrm>
            <a:prstGeom prst="triangle">
              <a:avLst>
                <a:gd name="adj" fmla="val 50000"/>
              </a:avLst>
            </a:prstGeom>
            <a:solidFill>
              <a:srgbClr val="0A2864">
                <a:alpha val="2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32" name="Rectangle 7"/>
            <p:cNvSpPr>
              <a:spLocks noChangeArrowheads="1"/>
            </p:cNvSpPr>
            <p:nvPr/>
          </p:nvSpPr>
          <p:spPr bwMode="auto">
            <a:xfrm>
              <a:off x="1379521" y="2448001"/>
              <a:ext cx="1370012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/>
          </p:nvSpPr>
          <p:spPr bwMode="auto">
            <a:xfrm>
              <a:off x="2746357" y="2448001"/>
              <a:ext cx="1060450" cy="525462"/>
            </a:xfrm>
            <a:prstGeom prst="rect">
              <a:avLst/>
            </a:prstGeom>
            <a:solidFill>
              <a:srgbClr val="0A2864">
                <a:alpha val="20000"/>
              </a:srgbClr>
            </a:solidFill>
            <a:ln w="19050" algn="ctr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eaLnBrk="0" fontAlgn="auto" hangingPunct="0">
                <a:spcAft>
                  <a:spcPts val="0"/>
                </a:spcAft>
                <a:defRPr/>
              </a:pPr>
              <a:endParaRPr lang="de-DE" altLang="en-US" sz="2401" kern="0">
                <a:solidFill>
                  <a:srgbClr val="0A2864"/>
                </a:solidFill>
              </a:endParaRPr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auto">
            <a:xfrm>
              <a:off x="3497245" y="2688031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auto">
            <a:xfrm>
              <a:off x="3281345" y="2465781"/>
              <a:ext cx="220662" cy="261937"/>
            </a:xfrm>
            <a:prstGeom prst="rect">
              <a:avLst/>
            </a:prstGeom>
            <a:pattFill prst="dkHorz">
              <a:fgClr>
                <a:srgbClr val="C9D0DD"/>
              </a:fgClr>
              <a:bgClr>
                <a:srgbClr val="FFFFFF"/>
              </a:bgClr>
            </a:pattFill>
            <a:ln w="19050" algn="ctr">
              <a:solidFill>
                <a:srgbClr val="C9D0DD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60" fontAlgn="auto">
                <a:spcAft>
                  <a:spcPts val="0"/>
                </a:spcAft>
                <a:defRPr/>
              </a:pPr>
              <a:endParaRPr lang="de-DE" sz="1200" kern="0">
                <a:solidFill>
                  <a:srgbClr val="0A2864"/>
                </a:solidFill>
              </a:endParaRPr>
            </a:p>
          </p:txBody>
        </p:sp>
        <p:pic>
          <p:nvPicPr>
            <p:cNvPr id="36" name="Picture 89" descr="submete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783" y="2465462"/>
              <a:ext cx="787400" cy="469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Grafik 36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184" y="2490448"/>
              <a:ext cx="371817" cy="488465"/>
            </a:xfrm>
            <a:prstGeom prst="rect">
              <a:avLst/>
            </a:prstGeom>
          </p:spPr>
        </p:pic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184" y="3008608"/>
              <a:ext cx="371817" cy="488465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184" y="3536094"/>
              <a:ext cx="371817" cy="488465"/>
            </a:xfrm>
            <a:prstGeom prst="rect">
              <a:avLst/>
            </a:prstGeom>
          </p:spPr>
        </p:pic>
        <p:pic>
          <p:nvPicPr>
            <p:cNvPr id="40" name="Grafik 39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184" y="4054254"/>
              <a:ext cx="371817" cy="488465"/>
            </a:xfrm>
            <a:prstGeom prst="rect">
              <a:avLst/>
            </a:prstGeom>
          </p:spPr>
        </p:pic>
        <p:pic>
          <p:nvPicPr>
            <p:cNvPr id="41" name="Grafik 4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235184" y="4590754"/>
              <a:ext cx="371817" cy="488465"/>
            </a:xfrm>
            <a:prstGeom prst="rect">
              <a:avLst/>
            </a:prstGeom>
          </p:spPr>
        </p:pic>
        <p:pic>
          <p:nvPicPr>
            <p:cNvPr id="42" name="Grafik 41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 rot="5400000">
              <a:off x="3163264" y="3295713"/>
              <a:ext cx="152424" cy="166564"/>
            </a:xfrm>
            <a:prstGeom prst="rect">
              <a:avLst/>
            </a:prstGeom>
          </p:spPr>
        </p:pic>
        <p:sp>
          <p:nvSpPr>
            <p:cNvPr id="43" name="AutoShape 98"/>
            <p:cNvSpPr>
              <a:spLocks noChangeArrowheads="1"/>
            </p:cNvSpPr>
            <p:nvPr/>
          </p:nvSpPr>
          <p:spPr bwMode="auto">
            <a:xfrm>
              <a:off x="2840311" y="3090301"/>
              <a:ext cx="342900" cy="21590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9050">
              <a:solidFill>
                <a:srgbClr val="84B4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fontAlgn="auto">
                <a:spcAft>
                  <a:spcPts val="0"/>
                </a:spcAft>
                <a:defRPr/>
              </a:pPr>
              <a:r>
                <a:rPr lang="en-GB" sz="800">
                  <a:solidFill>
                    <a:srgbClr val="84B400"/>
                  </a:solidFill>
                </a:rPr>
                <a:t>SGW</a:t>
              </a:r>
            </a:p>
          </p:txBody>
        </p:sp>
        <p:pic>
          <p:nvPicPr>
            <p:cNvPr id="44" name="Grafik 43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 rot="5400000">
              <a:off x="3163264" y="4339654"/>
              <a:ext cx="152424" cy="166564"/>
            </a:xfrm>
            <a:prstGeom prst="rect">
              <a:avLst/>
            </a:prstGeom>
          </p:spPr>
        </p:pic>
        <p:sp>
          <p:nvSpPr>
            <p:cNvPr id="45" name="AutoShape 98"/>
            <p:cNvSpPr>
              <a:spLocks noChangeArrowheads="1"/>
            </p:cNvSpPr>
            <p:nvPr/>
          </p:nvSpPr>
          <p:spPr bwMode="auto">
            <a:xfrm>
              <a:off x="2840311" y="4134241"/>
              <a:ext cx="342900" cy="21590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19050">
              <a:solidFill>
                <a:srgbClr val="84B4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defTabSz="914460" fontAlgn="auto">
                <a:spcAft>
                  <a:spcPts val="0"/>
                </a:spcAft>
                <a:defRPr/>
              </a:pPr>
              <a:r>
                <a:rPr lang="en-GB" sz="800">
                  <a:solidFill>
                    <a:srgbClr val="84B400"/>
                  </a:solidFill>
                </a:rPr>
                <a:t>SGW</a:t>
              </a:r>
            </a:p>
          </p:txBody>
        </p:sp>
      </p:grpSp>
      <p:cxnSp>
        <p:nvCxnSpPr>
          <p:cNvPr id="46" name="Gewinkelte Verbindung 45"/>
          <p:cNvCxnSpPr/>
          <p:nvPr/>
        </p:nvCxnSpPr>
        <p:spPr bwMode="auto">
          <a:xfrm rot="16200000" flipH="1">
            <a:off x="4545040" y="4011308"/>
            <a:ext cx="696293" cy="521861"/>
          </a:xfrm>
          <a:prstGeom prst="bentConnector3">
            <a:avLst>
              <a:gd name="adj1" fmla="val 98559"/>
            </a:avLst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7" name="Bild 11" descr="Allgemein_ista_Server_RZ_RGB_P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0636" y="4077072"/>
            <a:ext cx="243970" cy="434929"/>
          </a:xfrm>
          <a:prstGeom prst="rect">
            <a:avLst/>
          </a:prstGeom>
        </p:spPr>
      </p:pic>
      <p:grpSp>
        <p:nvGrpSpPr>
          <p:cNvPr id="49" name="Gruppieren 48"/>
          <p:cNvGrpSpPr/>
          <p:nvPr/>
        </p:nvGrpSpPr>
        <p:grpSpPr>
          <a:xfrm>
            <a:off x="4157246" y="2880233"/>
            <a:ext cx="1131969" cy="1058323"/>
            <a:chOff x="4305778" y="3278088"/>
            <a:chExt cx="757855" cy="708549"/>
          </a:xfrm>
        </p:grpSpPr>
        <p:pic>
          <p:nvPicPr>
            <p:cNvPr id="8" name="Bild 24" descr="Allgemein_GPS_RZ_RGB_P.jpg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5778" y="3278088"/>
              <a:ext cx="652956" cy="615524"/>
            </a:xfrm>
            <a:prstGeom prst="rect">
              <a:avLst/>
            </a:prstGeom>
          </p:spPr>
        </p:pic>
        <p:pic>
          <p:nvPicPr>
            <p:cNvPr id="48" name="Grafik 47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4818840" y="3861480"/>
              <a:ext cx="244793" cy="1251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719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 txBox="1">
            <a:spLocks/>
          </p:cNvSpPr>
          <p:nvPr/>
        </p:nvSpPr>
        <p:spPr bwMode="gray">
          <a:xfrm>
            <a:off x="2135560" y="1700214"/>
            <a:ext cx="3673103" cy="4392000"/>
          </a:xfrm>
          <a:prstGeom prst="rect">
            <a:avLst/>
          </a:prstGeom>
        </p:spPr>
        <p:txBody>
          <a:bodyPr vert="horz" lIns="0" tIns="1800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Content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BEE2AD-0627-456B-BF25-7FAE630C9418}"/>
              </a:ext>
            </a:extLst>
          </p:cNvPr>
          <p:cNvSpPr txBox="1">
            <a:spLocks/>
          </p:cNvSpPr>
          <p:nvPr/>
        </p:nvSpPr>
        <p:spPr>
          <a:xfrm>
            <a:off x="6383338" y="2342572"/>
            <a:ext cx="720774" cy="6480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1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18AE3E8-A120-48F0-ADEF-F876BDB6C410}"/>
              </a:ext>
            </a:extLst>
          </p:cNvPr>
          <p:cNvSpPr txBox="1">
            <a:spLocks/>
          </p:cNvSpPr>
          <p:nvPr/>
        </p:nvSpPr>
        <p:spPr>
          <a:xfrm>
            <a:off x="6383338" y="2990627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 dirty="0"/>
              <a:t>2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4032" y="3717032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/>
              <a:t>3</a:t>
            </a:r>
            <a:r>
              <a:rPr lang="en-GB" sz="2800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404BEEE-062D-4B61-8986-4537511F693C}"/>
              </a:ext>
            </a:extLst>
          </p:cNvPr>
          <p:cNvSpPr txBox="1">
            <a:spLocks/>
          </p:cNvSpPr>
          <p:nvPr/>
        </p:nvSpPr>
        <p:spPr>
          <a:xfrm>
            <a:off x="7104112" y="2378085"/>
            <a:ext cx="3836790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EAD213C-C37D-4C92-A23E-1545B34B9A20}"/>
              </a:ext>
            </a:extLst>
          </p:cNvPr>
          <p:cNvSpPr txBox="1">
            <a:spLocks/>
          </p:cNvSpPr>
          <p:nvPr/>
        </p:nvSpPr>
        <p:spPr>
          <a:xfrm>
            <a:off x="7104112" y="3008401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ista </a:t>
            </a:r>
            <a:r>
              <a:rPr lang="hu-HU" dirty="0"/>
              <a:t>termék portfólió</a:t>
            </a:r>
            <a:endParaRPr lang="en-GB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76120" y="3717032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4032" y="4437112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>
                <a:solidFill>
                  <a:schemeClr val="bg2"/>
                </a:solidFill>
              </a:rPr>
              <a:t>4</a:t>
            </a:r>
            <a:r>
              <a:rPr lang="en-GB" sz="2800" dirty="0">
                <a:solidFill>
                  <a:schemeClr val="bg2"/>
                </a:solidFill>
              </a:rPr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76120" y="4365104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b="1" dirty="0">
                <a:solidFill>
                  <a:schemeClr val="bg2"/>
                </a:solidFill>
              </a:rPr>
              <a:t>Esettanulmány</a:t>
            </a:r>
            <a:endParaRPr lang="en-GB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7304036"/>
      </p:ext>
    </p:extLst>
  </p:cSld>
  <p:clrMapOvr>
    <a:masterClrMapping/>
  </p:clrMapOvr>
  <p:transition spd="slow">
    <p:push dir="u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335360" y="2996952"/>
            <a:ext cx="5472608" cy="2951857"/>
          </a:xfrm>
        </p:spPr>
        <p:txBody>
          <a:bodyPr/>
          <a:lstStyle/>
          <a:p>
            <a:r>
              <a:rPr lang="hu-HU" sz="2400" b="1" dirty="0"/>
              <a:t>Régi </a:t>
            </a:r>
            <a:r>
              <a:rPr lang="hu-HU" sz="2400" b="1" dirty="0" err="1"/>
              <a:t>elvaco</a:t>
            </a:r>
            <a:r>
              <a:rPr lang="hu-HU" sz="2400" b="1" dirty="0"/>
              <a:t> rendszer leváltása</a:t>
            </a:r>
          </a:p>
          <a:p>
            <a:endParaRPr lang="hu-HU" sz="2400" b="1" dirty="0">
              <a:solidFill>
                <a:srgbClr val="0A2864"/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hu-HU" sz="2400" b="1" dirty="0">
                <a:solidFill>
                  <a:srgbClr val="0A2864"/>
                </a:solidFill>
              </a:rPr>
              <a:t> </a:t>
            </a:r>
            <a:r>
              <a:rPr lang="hu-HU" sz="1800" dirty="0"/>
              <a:t> Megoldás: vezeték nélküli </a:t>
            </a:r>
            <a:r>
              <a:rPr lang="hu-HU" sz="1800" dirty="0" err="1"/>
              <a:t>M-Bus</a:t>
            </a:r>
            <a:br>
              <a:rPr lang="en-GB" dirty="0"/>
            </a:br>
            <a:endParaRPr lang="en-GB" dirty="0"/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>
          <a:xfrm>
            <a:off x="6384032" y="2852936"/>
            <a:ext cx="5472608" cy="3023865"/>
          </a:xfrm>
        </p:spPr>
        <p:txBody>
          <a:bodyPr/>
          <a:lstStyle/>
          <a:p>
            <a:pPr lvl="1"/>
            <a:r>
              <a:rPr lang="hu-HU" sz="2400" b="1" dirty="0"/>
              <a:t>A meglévő </a:t>
            </a:r>
            <a:r>
              <a:rPr lang="hu-HU" sz="2400" b="1" dirty="0" err="1"/>
              <a:t>M-Bus</a:t>
            </a:r>
            <a:r>
              <a:rPr lang="hu-HU" sz="2400" b="1" dirty="0"/>
              <a:t> rendszerű mérők cseréje</a:t>
            </a:r>
          </a:p>
          <a:p>
            <a:pPr lvl="1"/>
            <a:endParaRPr lang="en-GB" sz="2400" b="1" dirty="0"/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2000" dirty="0"/>
              <a:t>Megoldás: </a:t>
            </a:r>
            <a:r>
              <a:rPr lang="hu-HU" sz="2000" dirty="0" err="1"/>
              <a:t>M-bus</a:t>
            </a:r>
            <a:endParaRPr lang="en-GB" sz="20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334963" y="476672"/>
            <a:ext cx="11521677" cy="1944216"/>
          </a:xfrm>
        </p:spPr>
        <p:txBody>
          <a:bodyPr/>
          <a:lstStyle/>
          <a:p>
            <a:pPr algn="ctr"/>
            <a:br>
              <a:rPr lang="hu-HU" b="1" dirty="0" err="1"/>
            </a:br>
            <a:br>
              <a:rPr lang="hu-HU" b="1" dirty="0"/>
            </a:br>
            <a:r>
              <a:rPr lang="hu-HU" b="1" dirty="0"/>
              <a:t>                                                                                      </a:t>
            </a:r>
            <a:r>
              <a:rPr lang="hu-HU" b="1" dirty="0" err="1"/>
              <a:t>hőközponti</a:t>
            </a:r>
            <a:r>
              <a:rPr lang="hu-HU" b="1" dirty="0"/>
              <a:t> méréseinek </a:t>
            </a:r>
            <a:r>
              <a:rPr lang="hu-HU" b="1" dirty="0" err="1"/>
              <a:t>korszerűsítésE</a:t>
            </a:r>
            <a:br>
              <a:rPr lang="hu-HU" b="1" dirty="0"/>
            </a:br>
            <a:endParaRPr lang="en-GB" b="1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7</a:t>
            </a:fld>
            <a:endParaRPr lang="en-GB"/>
          </a:p>
        </p:txBody>
      </p:sp>
      <p:cxnSp>
        <p:nvCxnSpPr>
          <p:cNvPr id="10" name="Gerader Verbinder 9"/>
          <p:cNvCxnSpPr/>
          <p:nvPr/>
        </p:nvCxnSpPr>
        <p:spPr bwMode="gray">
          <a:xfrm>
            <a:off x="5879976" y="2708920"/>
            <a:ext cx="198" cy="367193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9696" y="332656"/>
            <a:ext cx="44481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zövegdoboz 10"/>
          <p:cNvSpPr txBox="1"/>
          <p:nvPr/>
        </p:nvSpPr>
        <p:spPr bwMode="gray">
          <a:xfrm>
            <a:off x="695400" y="476672"/>
            <a:ext cx="2448272" cy="6480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16000" indent="-216000"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2800" cap="all" spc="50" dirty="0">
                <a:latin typeface="+mj-lt"/>
                <a:ea typeface="+mj-ea"/>
                <a:cs typeface="+mj-cs"/>
              </a:rPr>
              <a:t>Feladat: A</a:t>
            </a:r>
          </a:p>
        </p:txBody>
      </p:sp>
      <p:sp>
        <p:nvSpPr>
          <p:cNvPr id="13" name="Jobbra nyíl 12"/>
          <p:cNvSpPr/>
          <p:nvPr/>
        </p:nvSpPr>
        <p:spPr bwMode="gray">
          <a:xfrm rot="8580000">
            <a:off x="2804890" y="2198349"/>
            <a:ext cx="1080120" cy="432048"/>
          </a:xfrm>
          <a:prstGeom prst="rightArrow">
            <a:avLst/>
          </a:prstGeom>
          <a:solidFill>
            <a:srgbClr val="92D050"/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hu-HU" sz="1600" dirty="0" err="1">
              <a:solidFill>
                <a:schemeClr val="bg1"/>
              </a:solidFill>
            </a:endParaRPr>
          </a:p>
        </p:txBody>
      </p:sp>
      <p:sp>
        <p:nvSpPr>
          <p:cNvPr id="14" name="Jobbra nyíl 13"/>
          <p:cNvSpPr/>
          <p:nvPr/>
        </p:nvSpPr>
        <p:spPr bwMode="gray">
          <a:xfrm rot="1980000">
            <a:off x="7350664" y="2176118"/>
            <a:ext cx="1080120" cy="432048"/>
          </a:xfrm>
          <a:prstGeom prst="rightArrow">
            <a:avLst/>
          </a:prstGeom>
          <a:solidFill>
            <a:srgbClr val="92D050"/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hu-HU" sz="1600" dirty="0" err="1">
              <a:solidFill>
                <a:schemeClr val="bg1"/>
              </a:solidFill>
            </a:endParaRPr>
          </a:p>
        </p:txBody>
      </p:sp>
      <p:grpSp>
        <p:nvGrpSpPr>
          <p:cNvPr id="15" name="Group 285"/>
          <p:cNvGrpSpPr>
            <a:grpSpLocks noChangeAspect="1"/>
          </p:cNvGrpSpPr>
          <p:nvPr/>
        </p:nvGrpSpPr>
        <p:grpSpPr bwMode="auto">
          <a:xfrm>
            <a:off x="4295800" y="3789040"/>
            <a:ext cx="649130" cy="647228"/>
            <a:chOff x="388" y="758"/>
            <a:chExt cx="341" cy="340"/>
          </a:xfrm>
          <a:solidFill>
            <a:schemeClr val="accent3"/>
          </a:solidFill>
        </p:grpSpPr>
        <p:sp>
          <p:nvSpPr>
            <p:cNvPr id="16" name="Freeform 286"/>
            <p:cNvSpPr>
              <a:spLocks noEditPoints="1"/>
            </p:cNvSpPr>
            <p:nvPr/>
          </p:nvSpPr>
          <p:spPr bwMode="auto">
            <a:xfrm>
              <a:off x="462" y="834"/>
              <a:ext cx="192" cy="192"/>
            </a:xfrm>
            <a:custGeom>
              <a:avLst/>
              <a:gdLst>
                <a:gd name="T0" fmla="*/ 43 w 289"/>
                <a:gd name="T1" fmla="*/ 289 h 289"/>
                <a:gd name="T2" fmla="*/ 13 w 289"/>
                <a:gd name="T3" fmla="*/ 276 h 289"/>
                <a:gd name="T4" fmla="*/ 0 w 289"/>
                <a:gd name="T5" fmla="*/ 246 h 289"/>
                <a:gd name="T6" fmla="*/ 13 w 289"/>
                <a:gd name="T7" fmla="*/ 216 h 289"/>
                <a:gd name="T8" fmla="*/ 118 w 289"/>
                <a:gd name="T9" fmla="*/ 111 h 289"/>
                <a:gd name="T10" fmla="*/ 140 w 289"/>
                <a:gd name="T11" fmla="*/ 29 h 289"/>
                <a:gd name="T12" fmla="*/ 156 w 289"/>
                <a:gd name="T13" fmla="*/ 16 h 289"/>
                <a:gd name="T14" fmla="*/ 229 w 289"/>
                <a:gd name="T15" fmla="*/ 9 h 289"/>
                <a:gd name="T16" fmla="*/ 235 w 289"/>
                <a:gd name="T17" fmla="*/ 16 h 289"/>
                <a:gd name="T18" fmla="*/ 233 w 289"/>
                <a:gd name="T19" fmla="*/ 26 h 289"/>
                <a:gd name="T20" fmla="*/ 194 w 289"/>
                <a:gd name="T21" fmla="*/ 65 h 289"/>
                <a:gd name="T22" fmla="*/ 208 w 289"/>
                <a:gd name="T23" fmla="*/ 81 h 289"/>
                <a:gd name="T24" fmla="*/ 224 w 289"/>
                <a:gd name="T25" fmla="*/ 95 h 289"/>
                <a:gd name="T26" fmla="*/ 263 w 289"/>
                <a:gd name="T27" fmla="*/ 56 h 289"/>
                <a:gd name="T28" fmla="*/ 273 w 289"/>
                <a:gd name="T29" fmla="*/ 54 h 289"/>
                <a:gd name="T30" fmla="*/ 280 w 289"/>
                <a:gd name="T31" fmla="*/ 60 h 289"/>
                <a:gd name="T32" fmla="*/ 273 w 289"/>
                <a:gd name="T33" fmla="*/ 133 h 289"/>
                <a:gd name="T34" fmla="*/ 273 w 289"/>
                <a:gd name="T35" fmla="*/ 133 h 289"/>
                <a:gd name="T36" fmla="*/ 260 w 289"/>
                <a:gd name="T37" fmla="*/ 149 h 289"/>
                <a:gd name="T38" fmla="*/ 178 w 289"/>
                <a:gd name="T39" fmla="*/ 171 h 289"/>
                <a:gd name="T40" fmla="*/ 73 w 289"/>
                <a:gd name="T41" fmla="*/ 276 h 289"/>
                <a:gd name="T42" fmla="*/ 43 w 289"/>
                <a:gd name="T43" fmla="*/ 289 h 289"/>
                <a:gd name="T44" fmla="*/ 200 w 289"/>
                <a:gd name="T45" fmla="*/ 25 h 289"/>
                <a:gd name="T46" fmla="*/ 167 w 289"/>
                <a:gd name="T47" fmla="*/ 34 h 289"/>
                <a:gd name="T48" fmla="*/ 155 w 289"/>
                <a:gd name="T49" fmla="*/ 44 h 289"/>
                <a:gd name="T50" fmla="*/ 140 w 289"/>
                <a:gd name="T51" fmla="*/ 110 h 289"/>
                <a:gd name="T52" fmla="*/ 137 w 289"/>
                <a:gd name="T53" fmla="*/ 122 h 289"/>
                <a:gd name="T54" fmla="*/ 28 w 289"/>
                <a:gd name="T55" fmla="*/ 231 h 289"/>
                <a:gd name="T56" fmla="*/ 22 w 289"/>
                <a:gd name="T57" fmla="*/ 246 h 289"/>
                <a:gd name="T58" fmla="*/ 28 w 289"/>
                <a:gd name="T59" fmla="*/ 261 h 289"/>
                <a:gd name="T60" fmla="*/ 58 w 289"/>
                <a:gd name="T61" fmla="*/ 261 h 289"/>
                <a:gd name="T62" fmla="*/ 167 w 289"/>
                <a:gd name="T63" fmla="*/ 152 h 289"/>
                <a:gd name="T64" fmla="*/ 179 w 289"/>
                <a:gd name="T65" fmla="*/ 149 h 289"/>
                <a:gd name="T66" fmla="*/ 245 w 289"/>
                <a:gd name="T67" fmla="*/ 134 h 289"/>
                <a:gd name="T68" fmla="*/ 255 w 289"/>
                <a:gd name="T69" fmla="*/ 122 h 289"/>
                <a:gd name="T70" fmla="*/ 255 w 289"/>
                <a:gd name="T71" fmla="*/ 122 h 289"/>
                <a:gd name="T72" fmla="*/ 264 w 289"/>
                <a:gd name="T73" fmla="*/ 85 h 289"/>
                <a:gd name="T74" fmla="*/ 232 w 289"/>
                <a:gd name="T75" fmla="*/ 117 h 289"/>
                <a:gd name="T76" fmla="*/ 219 w 289"/>
                <a:gd name="T77" fmla="*/ 118 h 289"/>
                <a:gd name="T78" fmla="*/ 192 w 289"/>
                <a:gd name="T79" fmla="*/ 96 h 289"/>
                <a:gd name="T80" fmla="*/ 171 w 289"/>
                <a:gd name="T81" fmla="*/ 70 h 289"/>
                <a:gd name="T82" fmla="*/ 172 w 289"/>
                <a:gd name="T83" fmla="*/ 56 h 289"/>
                <a:gd name="T84" fmla="*/ 204 w 289"/>
                <a:gd name="T85" fmla="*/ 25 h 289"/>
                <a:gd name="T86" fmla="*/ 200 w 289"/>
                <a:gd name="T87" fmla="*/ 2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9" h="289">
                  <a:moveTo>
                    <a:pt x="43" y="289"/>
                  </a:moveTo>
                  <a:cubicBezTo>
                    <a:pt x="32" y="289"/>
                    <a:pt x="21" y="284"/>
                    <a:pt x="13" y="276"/>
                  </a:cubicBezTo>
                  <a:cubicBezTo>
                    <a:pt x="5" y="268"/>
                    <a:pt x="0" y="257"/>
                    <a:pt x="0" y="246"/>
                  </a:cubicBezTo>
                  <a:cubicBezTo>
                    <a:pt x="0" y="235"/>
                    <a:pt x="5" y="224"/>
                    <a:pt x="13" y="216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0" y="82"/>
                    <a:pt x="118" y="50"/>
                    <a:pt x="140" y="29"/>
                  </a:cubicBezTo>
                  <a:cubicBezTo>
                    <a:pt x="144" y="24"/>
                    <a:pt x="150" y="20"/>
                    <a:pt x="156" y="16"/>
                  </a:cubicBezTo>
                  <a:cubicBezTo>
                    <a:pt x="178" y="3"/>
                    <a:pt x="204" y="0"/>
                    <a:pt x="229" y="9"/>
                  </a:cubicBezTo>
                  <a:cubicBezTo>
                    <a:pt x="232" y="10"/>
                    <a:pt x="235" y="13"/>
                    <a:pt x="235" y="16"/>
                  </a:cubicBezTo>
                  <a:cubicBezTo>
                    <a:pt x="236" y="20"/>
                    <a:pt x="235" y="24"/>
                    <a:pt x="233" y="26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1"/>
                    <a:pt x="203" y="76"/>
                    <a:pt x="208" y="81"/>
                  </a:cubicBezTo>
                  <a:cubicBezTo>
                    <a:pt x="213" y="86"/>
                    <a:pt x="218" y="91"/>
                    <a:pt x="224" y="95"/>
                  </a:cubicBezTo>
                  <a:cubicBezTo>
                    <a:pt x="263" y="56"/>
                    <a:pt x="263" y="56"/>
                    <a:pt x="263" y="56"/>
                  </a:cubicBezTo>
                  <a:cubicBezTo>
                    <a:pt x="265" y="54"/>
                    <a:pt x="269" y="53"/>
                    <a:pt x="273" y="54"/>
                  </a:cubicBezTo>
                  <a:cubicBezTo>
                    <a:pt x="276" y="54"/>
                    <a:pt x="279" y="57"/>
                    <a:pt x="280" y="60"/>
                  </a:cubicBezTo>
                  <a:cubicBezTo>
                    <a:pt x="289" y="85"/>
                    <a:pt x="286" y="111"/>
                    <a:pt x="273" y="133"/>
                  </a:cubicBezTo>
                  <a:cubicBezTo>
                    <a:pt x="273" y="133"/>
                    <a:pt x="273" y="133"/>
                    <a:pt x="273" y="133"/>
                  </a:cubicBezTo>
                  <a:cubicBezTo>
                    <a:pt x="269" y="139"/>
                    <a:pt x="265" y="145"/>
                    <a:pt x="260" y="149"/>
                  </a:cubicBezTo>
                  <a:cubicBezTo>
                    <a:pt x="239" y="171"/>
                    <a:pt x="207" y="179"/>
                    <a:pt x="178" y="171"/>
                  </a:cubicBezTo>
                  <a:cubicBezTo>
                    <a:pt x="73" y="276"/>
                    <a:pt x="73" y="276"/>
                    <a:pt x="73" y="276"/>
                  </a:cubicBezTo>
                  <a:cubicBezTo>
                    <a:pt x="65" y="284"/>
                    <a:pt x="54" y="289"/>
                    <a:pt x="43" y="289"/>
                  </a:cubicBezTo>
                  <a:close/>
                  <a:moveTo>
                    <a:pt x="200" y="25"/>
                  </a:moveTo>
                  <a:cubicBezTo>
                    <a:pt x="188" y="25"/>
                    <a:pt x="177" y="28"/>
                    <a:pt x="167" y="34"/>
                  </a:cubicBezTo>
                  <a:cubicBezTo>
                    <a:pt x="162" y="37"/>
                    <a:pt x="158" y="40"/>
                    <a:pt x="155" y="44"/>
                  </a:cubicBezTo>
                  <a:cubicBezTo>
                    <a:pt x="137" y="61"/>
                    <a:pt x="132" y="87"/>
                    <a:pt x="140" y="110"/>
                  </a:cubicBezTo>
                  <a:cubicBezTo>
                    <a:pt x="141" y="114"/>
                    <a:pt x="140" y="119"/>
                    <a:pt x="137" y="122"/>
                  </a:cubicBezTo>
                  <a:cubicBezTo>
                    <a:pt x="28" y="231"/>
                    <a:pt x="28" y="231"/>
                    <a:pt x="28" y="231"/>
                  </a:cubicBezTo>
                  <a:cubicBezTo>
                    <a:pt x="24" y="235"/>
                    <a:pt x="22" y="240"/>
                    <a:pt x="22" y="246"/>
                  </a:cubicBezTo>
                  <a:cubicBezTo>
                    <a:pt x="22" y="252"/>
                    <a:pt x="24" y="257"/>
                    <a:pt x="28" y="261"/>
                  </a:cubicBezTo>
                  <a:cubicBezTo>
                    <a:pt x="36" y="269"/>
                    <a:pt x="50" y="269"/>
                    <a:pt x="58" y="261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70" y="149"/>
                    <a:pt x="175" y="148"/>
                    <a:pt x="179" y="149"/>
                  </a:cubicBezTo>
                  <a:cubicBezTo>
                    <a:pt x="202" y="157"/>
                    <a:pt x="228" y="152"/>
                    <a:pt x="245" y="134"/>
                  </a:cubicBezTo>
                  <a:cubicBezTo>
                    <a:pt x="249" y="131"/>
                    <a:pt x="252" y="127"/>
                    <a:pt x="255" y="122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61" y="111"/>
                    <a:pt x="265" y="98"/>
                    <a:pt x="264" y="85"/>
                  </a:cubicBezTo>
                  <a:cubicBezTo>
                    <a:pt x="232" y="117"/>
                    <a:pt x="232" y="117"/>
                    <a:pt x="232" y="117"/>
                  </a:cubicBezTo>
                  <a:cubicBezTo>
                    <a:pt x="229" y="120"/>
                    <a:pt x="223" y="121"/>
                    <a:pt x="219" y="118"/>
                  </a:cubicBezTo>
                  <a:cubicBezTo>
                    <a:pt x="210" y="112"/>
                    <a:pt x="201" y="105"/>
                    <a:pt x="192" y="96"/>
                  </a:cubicBezTo>
                  <a:cubicBezTo>
                    <a:pt x="184" y="88"/>
                    <a:pt x="177" y="79"/>
                    <a:pt x="171" y="70"/>
                  </a:cubicBezTo>
                  <a:cubicBezTo>
                    <a:pt x="168" y="66"/>
                    <a:pt x="169" y="60"/>
                    <a:pt x="172" y="56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2" y="25"/>
                    <a:pt x="201" y="25"/>
                    <a:pt x="20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87"/>
            <p:cNvSpPr>
              <a:spLocks noEditPoints="1"/>
            </p:cNvSpPr>
            <p:nvPr/>
          </p:nvSpPr>
          <p:spPr bwMode="auto">
            <a:xfrm>
              <a:off x="388" y="75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285"/>
          <p:cNvGrpSpPr>
            <a:grpSpLocks noChangeAspect="1"/>
          </p:cNvGrpSpPr>
          <p:nvPr/>
        </p:nvGrpSpPr>
        <p:grpSpPr bwMode="auto">
          <a:xfrm>
            <a:off x="10056439" y="3933056"/>
            <a:ext cx="577757" cy="576064"/>
            <a:chOff x="388" y="758"/>
            <a:chExt cx="341" cy="340"/>
          </a:xfrm>
          <a:solidFill>
            <a:schemeClr val="accent3"/>
          </a:solidFill>
        </p:grpSpPr>
        <p:sp>
          <p:nvSpPr>
            <p:cNvPr id="19" name="Freeform 286"/>
            <p:cNvSpPr>
              <a:spLocks noEditPoints="1"/>
            </p:cNvSpPr>
            <p:nvPr/>
          </p:nvSpPr>
          <p:spPr bwMode="auto">
            <a:xfrm>
              <a:off x="462" y="834"/>
              <a:ext cx="192" cy="192"/>
            </a:xfrm>
            <a:custGeom>
              <a:avLst/>
              <a:gdLst>
                <a:gd name="T0" fmla="*/ 43 w 289"/>
                <a:gd name="T1" fmla="*/ 289 h 289"/>
                <a:gd name="T2" fmla="*/ 13 w 289"/>
                <a:gd name="T3" fmla="*/ 276 h 289"/>
                <a:gd name="T4" fmla="*/ 0 w 289"/>
                <a:gd name="T5" fmla="*/ 246 h 289"/>
                <a:gd name="T6" fmla="*/ 13 w 289"/>
                <a:gd name="T7" fmla="*/ 216 h 289"/>
                <a:gd name="T8" fmla="*/ 118 w 289"/>
                <a:gd name="T9" fmla="*/ 111 h 289"/>
                <a:gd name="T10" fmla="*/ 140 w 289"/>
                <a:gd name="T11" fmla="*/ 29 h 289"/>
                <a:gd name="T12" fmla="*/ 156 w 289"/>
                <a:gd name="T13" fmla="*/ 16 h 289"/>
                <a:gd name="T14" fmla="*/ 229 w 289"/>
                <a:gd name="T15" fmla="*/ 9 h 289"/>
                <a:gd name="T16" fmla="*/ 235 w 289"/>
                <a:gd name="T17" fmla="*/ 16 h 289"/>
                <a:gd name="T18" fmla="*/ 233 w 289"/>
                <a:gd name="T19" fmla="*/ 26 h 289"/>
                <a:gd name="T20" fmla="*/ 194 w 289"/>
                <a:gd name="T21" fmla="*/ 65 h 289"/>
                <a:gd name="T22" fmla="*/ 208 w 289"/>
                <a:gd name="T23" fmla="*/ 81 h 289"/>
                <a:gd name="T24" fmla="*/ 224 w 289"/>
                <a:gd name="T25" fmla="*/ 95 h 289"/>
                <a:gd name="T26" fmla="*/ 263 w 289"/>
                <a:gd name="T27" fmla="*/ 56 h 289"/>
                <a:gd name="T28" fmla="*/ 273 w 289"/>
                <a:gd name="T29" fmla="*/ 54 h 289"/>
                <a:gd name="T30" fmla="*/ 280 w 289"/>
                <a:gd name="T31" fmla="*/ 60 h 289"/>
                <a:gd name="T32" fmla="*/ 273 w 289"/>
                <a:gd name="T33" fmla="*/ 133 h 289"/>
                <a:gd name="T34" fmla="*/ 273 w 289"/>
                <a:gd name="T35" fmla="*/ 133 h 289"/>
                <a:gd name="T36" fmla="*/ 260 w 289"/>
                <a:gd name="T37" fmla="*/ 149 h 289"/>
                <a:gd name="T38" fmla="*/ 178 w 289"/>
                <a:gd name="T39" fmla="*/ 171 h 289"/>
                <a:gd name="T40" fmla="*/ 73 w 289"/>
                <a:gd name="T41" fmla="*/ 276 h 289"/>
                <a:gd name="T42" fmla="*/ 43 w 289"/>
                <a:gd name="T43" fmla="*/ 289 h 289"/>
                <a:gd name="T44" fmla="*/ 200 w 289"/>
                <a:gd name="T45" fmla="*/ 25 h 289"/>
                <a:gd name="T46" fmla="*/ 167 w 289"/>
                <a:gd name="T47" fmla="*/ 34 h 289"/>
                <a:gd name="T48" fmla="*/ 155 w 289"/>
                <a:gd name="T49" fmla="*/ 44 h 289"/>
                <a:gd name="T50" fmla="*/ 140 w 289"/>
                <a:gd name="T51" fmla="*/ 110 h 289"/>
                <a:gd name="T52" fmla="*/ 137 w 289"/>
                <a:gd name="T53" fmla="*/ 122 h 289"/>
                <a:gd name="T54" fmla="*/ 28 w 289"/>
                <a:gd name="T55" fmla="*/ 231 h 289"/>
                <a:gd name="T56" fmla="*/ 22 w 289"/>
                <a:gd name="T57" fmla="*/ 246 h 289"/>
                <a:gd name="T58" fmla="*/ 28 w 289"/>
                <a:gd name="T59" fmla="*/ 261 h 289"/>
                <a:gd name="T60" fmla="*/ 58 w 289"/>
                <a:gd name="T61" fmla="*/ 261 h 289"/>
                <a:gd name="T62" fmla="*/ 167 w 289"/>
                <a:gd name="T63" fmla="*/ 152 h 289"/>
                <a:gd name="T64" fmla="*/ 179 w 289"/>
                <a:gd name="T65" fmla="*/ 149 h 289"/>
                <a:gd name="T66" fmla="*/ 245 w 289"/>
                <a:gd name="T67" fmla="*/ 134 h 289"/>
                <a:gd name="T68" fmla="*/ 255 w 289"/>
                <a:gd name="T69" fmla="*/ 122 h 289"/>
                <a:gd name="T70" fmla="*/ 255 w 289"/>
                <a:gd name="T71" fmla="*/ 122 h 289"/>
                <a:gd name="T72" fmla="*/ 264 w 289"/>
                <a:gd name="T73" fmla="*/ 85 h 289"/>
                <a:gd name="T74" fmla="*/ 232 w 289"/>
                <a:gd name="T75" fmla="*/ 117 h 289"/>
                <a:gd name="T76" fmla="*/ 219 w 289"/>
                <a:gd name="T77" fmla="*/ 118 h 289"/>
                <a:gd name="T78" fmla="*/ 192 w 289"/>
                <a:gd name="T79" fmla="*/ 96 h 289"/>
                <a:gd name="T80" fmla="*/ 171 w 289"/>
                <a:gd name="T81" fmla="*/ 70 h 289"/>
                <a:gd name="T82" fmla="*/ 172 w 289"/>
                <a:gd name="T83" fmla="*/ 56 h 289"/>
                <a:gd name="T84" fmla="*/ 204 w 289"/>
                <a:gd name="T85" fmla="*/ 25 h 289"/>
                <a:gd name="T86" fmla="*/ 200 w 289"/>
                <a:gd name="T87" fmla="*/ 25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89" h="289">
                  <a:moveTo>
                    <a:pt x="43" y="289"/>
                  </a:moveTo>
                  <a:cubicBezTo>
                    <a:pt x="32" y="289"/>
                    <a:pt x="21" y="284"/>
                    <a:pt x="13" y="276"/>
                  </a:cubicBezTo>
                  <a:cubicBezTo>
                    <a:pt x="5" y="268"/>
                    <a:pt x="0" y="257"/>
                    <a:pt x="0" y="246"/>
                  </a:cubicBezTo>
                  <a:cubicBezTo>
                    <a:pt x="0" y="235"/>
                    <a:pt x="5" y="224"/>
                    <a:pt x="13" y="216"/>
                  </a:cubicBezTo>
                  <a:cubicBezTo>
                    <a:pt x="118" y="111"/>
                    <a:pt x="118" y="111"/>
                    <a:pt x="118" y="111"/>
                  </a:cubicBezTo>
                  <a:cubicBezTo>
                    <a:pt x="110" y="82"/>
                    <a:pt x="118" y="50"/>
                    <a:pt x="140" y="29"/>
                  </a:cubicBezTo>
                  <a:cubicBezTo>
                    <a:pt x="144" y="24"/>
                    <a:pt x="150" y="20"/>
                    <a:pt x="156" y="16"/>
                  </a:cubicBezTo>
                  <a:cubicBezTo>
                    <a:pt x="178" y="3"/>
                    <a:pt x="204" y="0"/>
                    <a:pt x="229" y="9"/>
                  </a:cubicBezTo>
                  <a:cubicBezTo>
                    <a:pt x="232" y="10"/>
                    <a:pt x="235" y="13"/>
                    <a:pt x="235" y="16"/>
                  </a:cubicBezTo>
                  <a:cubicBezTo>
                    <a:pt x="236" y="20"/>
                    <a:pt x="235" y="24"/>
                    <a:pt x="233" y="26"/>
                  </a:cubicBezTo>
                  <a:cubicBezTo>
                    <a:pt x="194" y="65"/>
                    <a:pt x="194" y="65"/>
                    <a:pt x="194" y="65"/>
                  </a:cubicBezTo>
                  <a:cubicBezTo>
                    <a:pt x="198" y="71"/>
                    <a:pt x="203" y="76"/>
                    <a:pt x="208" y="81"/>
                  </a:cubicBezTo>
                  <a:cubicBezTo>
                    <a:pt x="213" y="86"/>
                    <a:pt x="218" y="91"/>
                    <a:pt x="224" y="95"/>
                  </a:cubicBezTo>
                  <a:cubicBezTo>
                    <a:pt x="263" y="56"/>
                    <a:pt x="263" y="56"/>
                    <a:pt x="263" y="56"/>
                  </a:cubicBezTo>
                  <a:cubicBezTo>
                    <a:pt x="265" y="54"/>
                    <a:pt x="269" y="53"/>
                    <a:pt x="273" y="54"/>
                  </a:cubicBezTo>
                  <a:cubicBezTo>
                    <a:pt x="276" y="54"/>
                    <a:pt x="279" y="57"/>
                    <a:pt x="280" y="60"/>
                  </a:cubicBezTo>
                  <a:cubicBezTo>
                    <a:pt x="289" y="85"/>
                    <a:pt x="286" y="111"/>
                    <a:pt x="273" y="133"/>
                  </a:cubicBezTo>
                  <a:cubicBezTo>
                    <a:pt x="273" y="133"/>
                    <a:pt x="273" y="133"/>
                    <a:pt x="273" y="133"/>
                  </a:cubicBezTo>
                  <a:cubicBezTo>
                    <a:pt x="269" y="139"/>
                    <a:pt x="265" y="145"/>
                    <a:pt x="260" y="149"/>
                  </a:cubicBezTo>
                  <a:cubicBezTo>
                    <a:pt x="239" y="171"/>
                    <a:pt x="207" y="179"/>
                    <a:pt x="178" y="171"/>
                  </a:cubicBezTo>
                  <a:cubicBezTo>
                    <a:pt x="73" y="276"/>
                    <a:pt x="73" y="276"/>
                    <a:pt x="73" y="276"/>
                  </a:cubicBezTo>
                  <a:cubicBezTo>
                    <a:pt x="65" y="284"/>
                    <a:pt x="54" y="289"/>
                    <a:pt x="43" y="289"/>
                  </a:cubicBezTo>
                  <a:close/>
                  <a:moveTo>
                    <a:pt x="200" y="25"/>
                  </a:moveTo>
                  <a:cubicBezTo>
                    <a:pt x="188" y="25"/>
                    <a:pt x="177" y="28"/>
                    <a:pt x="167" y="34"/>
                  </a:cubicBezTo>
                  <a:cubicBezTo>
                    <a:pt x="162" y="37"/>
                    <a:pt x="158" y="40"/>
                    <a:pt x="155" y="44"/>
                  </a:cubicBezTo>
                  <a:cubicBezTo>
                    <a:pt x="137" y="61"/>
                    <a:pt x="132" y="87"/>
                    <a:pt x="140" y="110"/>
                  </a:cubicBezTo>
                  <a:cubicBezTo>
                    <a:pt x="141" y="114"/>
                    <a:pt x="140" y="119"/>
                    <a:pt x="137" y="122"/>
                  </a:cubicBezTo>
                  <a:cubicBezTo>
                    <a:pt x="28" y="231"/>
                    <a:pt x="28" y="231"/>
                    <a:pt x="28" y="231"/>
                  </a:cubicBezTo>
                  <a:cubicBezTo>
                    <a:pt x="24" y="235"/>
                    <a:pt x="22" y="240"/>
                    <a:pt x="22" y="246"/>
                  </a:cubicBezTo>
                  <a:cubicBezTo>
                    <a:pt x="22" y="252"/>
                    <a:pt x="24" y="257"/>
                    <a:pt x="28" y="261"/>
                  </a:cubicBezTo>
                  <a:cubicBezTo>
                    <a:pt x="36" y="269"/>
                    <a:pt x="50" y="269"/>
                    <a:pt x="58" y="261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70" y="149"/>
                    <a:pt x="175" y="148"/>
                    <a:pt x="179" y="149"/>
                  </a:cubicBezTo>
                  <a:cubicBezTo>
                    <a:pt x="202" y="157"/>
                    <a:pt x="228" y="152"/>
                    <a:pt x="245" y="134"/>
                  </a:cubicBezTo>
                  <a:cubicBezTo>
                    <a:pt x="249" y="131"/>
                    <a:pt x="252" y="127"/>
                    <a:pt x="255" y="122"/>
                  </a:cubicBezTo>
                  <a:cubicBezTo>
                    <a:pt x="255" y="122"/>
                    <a:pt x="255" y="122"/>
                    <a:pt x="255" y="122"/>
                  </a:cubicBezTo>
                  <a:cubicBezTo>
                    <a:pt x="261" y="111"/>
                    <a:pt x="265" y="98"/>
                    <a:pt x="264" y="85"/>
                  </a:cubicBezTo>
                  <a:cubicBezTo>
                    <a:pt x="232" y="117"/>
                    <a:pt x="232" y="117"/>
                    <a:pt x="232" y="117"/>
                  </a:cubicBezTo>
                  <a:cubicBezTo>
                    <a:pt x="229" y="120"/>
                    <a:pt x="223" y="121"/>
                    <a:pt x="219" y="118"/>
                  </a:cubicBezTo>
                  <a:cubicBezTo>
                    <a:pt x="210" y="112"/>
                    <a:pt x="201" y="105"/>
                    <a:pt x="192" y="96"/>
                  </a:cubicBezTo>
                  <a:cubicBezTo>
                    <a:pt x="184" y="88"/>
                    <a:pt x="177" y="79"/>
                    <a:pt x="171" y="70"/>
                  </a:cubicBezTo>
                  <a:cubicBezTo>
                    <a:pt x="168" y="66"/>
                    <a:pt x="169" y="60"/>
                    <a:pt x="172" y="56"/>
                  </a:cubicBezTo>
                  <a:cubicBezTo>
                    <a:pt x="204" y="25"/>
                    <a:pt x="204" y="25"/>
                    <a:pt x="204" y="25"/>
                  </a:cubicBezTo>
                  <a:cubicBezTo>
                    <a:pt x="202" y="25"/>
                    <a:pt x="201" y="25"/>
                    <a:pt x="20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87"/>
            <p:cNvSpPr>
              <a:spLocks noEditPoints="1"/>
            </p:cNvSpPr>
            <p:nvPr/>
          </p:nvSpPr>
          <p:spPr bwMode="auto">
            <a:xfrm>
              <a:off x="388" y="758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4375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8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9696" y="332656"/>
            <a:ext cx="44481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87488" y="1412776"/>
            <a:ext cx="9145016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Szövegdoboz 14"/>
          <p:cNvSpPr txBox="1"/>
          <p:nvPr/>
        </p:nvSpPr>
        <p:spPr bwMode="gray">
          <a:xfrm>
            <a:off x="695400" y="1700808"/>
            <a:ext cx="374441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dirty="0"/>
              <a:t>Hőmennyiségmérők a lépcsőház alatti közműfolyosókban </a:t>
            </a:r>
          </a:p>
        </p:txBody>
      </p:sp>
    </p:spTree>
    <p:extLst>
      <p:ext uri="{BB962C8B-B14F-4D97-AF65-F5344CB8AC3E}">
        <p14:creationId xmlns:p14="http://schemas.microsoft.com/office/powerpoint/2010/main" val="64375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9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9696" y="332656"/>
            <a:ext cx="44481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87488" y="1412776"/>
            <a:ext cx="9286875" cy="489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zövegdoboz 10"/>
          <p:cNvSpPr txBox="1"/>
          <p:nvPr/>
        </p:nvSpPr>
        <p:spPr bwMode="gray">
          <a:xfrm>
            <a:off x="695400" y="1700808"/>
            <a:ext cx="374441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dirty="0"/>
              <a:t>Hőmennyiségmérők a lépcsőházak előtt közmű aknákban </a:t>
            </a:r>
          </a:p>
        </p:txBody>
      </p:sp>
    </p:spTree>
    <p:extLst>
      <p:ext uri="{BB962C8B-B14F-4D97-AF65-F5344CB8AC3E}">
        <p14:creationId xmlns:p14="http://schemas.microsoft.com/office/powerpoint/2010/main" val="64375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i="1" dirty="0"/>
              <a:t>Üzenet a jövőből</a:t>
            </a:r>
            <a:br>
              <a:rPr lang="en-GB" dirty="0"/>
            </a:br>
            <a:r>
              <a:rPr lang="hu-HU" sz="2600" b="0" dirty="0"/>
              <a:t>Innovatív mérési megoldások</a:t>
            </a:r>
            <a:endParaRPr lang="en-GB" sz="26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hu-HU" dirty="0"/>
              <a:t>dr. Uzonyi Zoltán</a:t>
            </a:r>
            <a:r>
              <a:rPr lang="en-GB" dirty="0"/>
              <a:t> ▪ </a:t>
            </a:r>
            <a:r>
              <a:rPr lang="hu-HU" dirty="0"/>
              <a:t>2022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1358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20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9696" y="332656"/>
            <a:ext cx="4448175" cy="1095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Szövegdoboz 10"/>
          <p:cNvSpPr txBox="1"/>
          <p:nvPr/>
        </p:nvSpPr>
        <p:spPr bwMode="gray">
          <a:xfrm>
            <a:off x="695400" y="1700808"/>
            <a:ext cx="3744416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dirty="0"/>
              <a:t>Hőmennyiségmérők a lépcsőházak előtti közmű aknákban 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67808" y="1340768"/>
            <a:ext cx="5488074" cy="5040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Egyenes összekötő nyíllal 11"/>
          <p:cNvCxnSpPr/>
          <p:nvPr/>
        </p:nvCxnSpPr>
        <p:spPr bwMode="gray">
          <a:xfrm>
            <a:off x="2927648" y="2204864"/>
            <a:ext cx="5184576" cy="1944216"/>
          </a:xfrm>
          <a:prstGeom prst="straightConnector1">
            <a:avLst/>
          </a:prstGeom>
          <a:ln w="63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375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5"/>
          <p:cNvSpPr>
            <a:spLocks noGrp="1" noChangeArrowheads="1"/>
          </p:cNvSpPr>
          <p:nvPr>
            <p:ph type="title"/>
          </p:nvPr>
        </p:nvSpPr>
        <p:spPr>
          <a:xfrm>
            <a:off x="334963" y="476672"/>
            <a:ext cx="11857037" cy="720032"/>
          </a:xfrm>
        </p:spPr>
        <p:txBody>
          <a:bodyPr/>
          <a:lstStyle/>
          <a:p>
            <a:r>
              <a:rPr lang="hu-HU" dirty="0">
                <a:solidFill>
                  <a:srgbClr val="0A2864"/>
                </a:solidFill>
              </a:rPr>
              <a:t>Rendszerelemek – végponti mérőeszközök, vezeték nélküli </a:t>
            </a:r>
            <a:r>
              <a:rPr lang="hu-HU" dirty="0" err="1">
                <a:solidFill>
                  <a:srgbClr val="0A2864"/>
                </a:solidFill>
              </a:rPr>
              <a:t>M-Bus</a:t>
            </a:r>
            <a:endParaRPr lang="de-DE" dirty="0">
              <a:solidFill>
                <a:srgbClr val="0A2864"/>
              </a:solidFill>
            </a:endParaRPr>
          </a:p>
        </p:txBody>
      </p:sp>
      <p:sp>
        <p:nvSpPr>
          <p:cNvPr id="13315" name="Rectangle 6"/>
          <p:cNvSpPr>
            <a:spLocks noGrp="1" noChangeArrowheads="1"/>
          </p:cNvSpPr>
          <p:nvPr>
            <p:ph idx="1"/>
          </p:nvPr>
        </p:nvSpPr>
        <p:spPr>
          <a:xfrm>
            <a:off x="551384" y="1412776"/>
            <a:ext cx="6551083" cy="3887664"/>
          </a:xfrm>
        </p:spPr>
        <p:txBody>
          <a:bodyPr/>
          <a:lstStyle/>
          <a:p>
            <a:pPr lvl="1" eaLnBrk="1" hangingPunct="1">
              <a:buClr>
                <a:srgbClr val="0A2864"/>
              </a:buClr>
            </a:pPr>
            <a:r>
              <a:rPr lang="hu-HU" sz="1800" b="1" dirty="0">
                <a:solidFill>
                  <a:srgbClr val="002060"/>
                </a:solidFill>
              </a:rPr>
              <a:t>1. Ultrahangos </a:t>
            </a:r>
            <a:r>
              <a:rPr lang="hu-HU" sz="1800" b="1" dirty="0" err="1">
                <a:solidFill>
                  <a:srgbClr val="002060"/>
                </a:solidFill>
              </a:rPr>
              <a:t>átfolyásmérők</a:t>
            </a:r>
            <a:r>
              <a:rPr lang="hu-HU" sz="1800" b="1" dirty="0">
                <a:solidFill>
                  <a:srgbClr val="002060"/>
                </a:solidFill>
              </a:rPr>
              <a:t> 0,6- 15 m3/hosszú</a:t>
            </a:r>
            <a:endParaRPr lang="de-DE" sz="1800" b="1" dirty="0">
              <a:solidFill>
                <a:srgbClr val="00206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br>
              <a:rPr lang="de-DE" dirty="0">
                <a:solidFill>
                  <a:srgbClr val="000000"/>
                </a:solidFill>
              </a:rPr>
            </a:b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13317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buSzPct val="100000"/>
            </a:pPr>
            <a:r>
              <a:rPr lang="de-DE">
                <a:solidFill>
                  <a:srgbClr val="3B5383"/>
                </a:solidFill>
                <a:latin typeface="Arial" charset="0"/>
              </a:rPr>
              <a:t> Slide </a:t>
            </a:r>
            <a:fld id="{FE3CA800-C515-42A7-BCBF-A76011A4A6D2}" type="slidenum">
              <a:rPr lang="de-DE" smtClean="0">
                <a:solidFill>
                  <a:srgbClr val="3B5383"/>
                </a:solidFill>
                <a:latin typeface="Arial" charset="0"/>
              </a:rPr>
              <a:pPr eaLnBrk="0" hangingPunct="0">
                <a:buSzPct val="100000"/>
              </a:pPr>
              <a:t>21</a:t>
            </a:fld>
            <a:endParaRPr lang="de-DE">
              <a:solidFill>
                <a:srgbClr val="3B5383"/>
              </a:solidFill>
              <a:latin typeface="Arial" charset="0"/>
            </a:endParaRPr>
          </a:p>
        </p:txBody>
      </p:sp>
      <p:pic>
        <p:nvPicPr>
          <p:cNvPr id="2050" name="Kép 5" descr="image00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71464" y="1700808"/>
            <a:ext cx="3255181" cy="211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églalap 17"/>
          <p:cNvSpPr/>
          <p:nvPr/>
        </p:nvSpPr>
        <p:spPr>
          <a:xfrm>
            <a:off x="6816080" y="1412776"/>
            <a:ext cx="28264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buClr>
                <a:srgbClr val="0A2864"/>
              </a:buClr>
            </a:pPr>
            <a:r>
              <a:rPr lang="hu-HU" b="1" dirty="0">
                <a:solidFill>
                  <a:srgbClr val="002060"/>
                </a:solidFill>
              </a:rPr>
              <a:t>2. Számláló egység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1424" y="4437112"/>
            <a:ext cx="3390900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églalap 19"/>
          <p:cNvSpPr/>
          <p:nvPr/>
        </p:nvSpPr>
        <p:spPr>
          <a:xfrm>
            <a:off x="479376" y="3933056"/>
            <a:ext cx="3300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buClr>
                <a:srgbClr val="0A2864"/>
              </a:buClr>
            </a:pPr>
            <a:r>
              <a:rPr lang="hu-HU" b="1" dirty="0">
                <a:solidFill>
                  <a:srgbClr val="002060"/>
                </a:solidFill>
              </a:rPr>
              <a:t>3. Hőmérséklet érzékelő pár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4943872" y="4221088"/>
            <a:ext cx="219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buClr>
                <a:srgbClr val="0A2864"/>
              </a:buClr>
            </a:pPr>
            <a:r>
              <a:rPr lang="hu-HU" b="1" dirty="0">
                <a:solidFill>
                  <a:srgbClr val="002060"/>
                </a:solidFill>
              </a:rPr>
              <a:t>4. OMS adatgyűjtő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12" name="Kép 11" descr="memonic 2.jpg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536160" y="4193704"/>
            <a:ext cx="1584176" cy="2664296"/>
          </a:xfrm>
          <a:prstGeom prst="rect">
            <a:avLst/>
          </a:prstGeom>
        </p:spPr>
      </p:pic>
      <p:pic>
        <p:nvPicPr>
          <p:cNvPr id="13" name="Grafik 2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768408" y="1268760"/>
            <a:ext cx="2016224" cy="2956880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5"/>
          <p:cNvSpPr>
            <a:spLocks noGrp="1" noChangeArrowheads="1"/>
          </p:cNvSpPr>
          <p:nvPr>
            <p:ph type="title"/>
          </p:nvPr>
        </p:nvSpPr>
        <p:spPr>
          <a:xfrm>
            <a:off x="334963" y="476672"/>
            <a:ext cx="11857037" cy="720032"/>
          </a:xfrm>
        </p:spPr>
        <p:txBody>
          <a:bodyPr/>
          <a:lstStyle/>
          <a:p>
            <a:r>
              <a:rPr lang="hu-HU" dirty="0">
                <a:solidFill>
                  <a:srgbClr val="0A2864"/>
                </a:solidFill>
              </a:rPr>
              <a:t>Rendszerelemek – végponti mérőeszközök, </a:t>
            </a:r>
            <a:r>
              <a:rPr lang="hu-HU" dirty="0" err="1">
                <a:solidFill>
                  <a:srgbClr val="0A2864"/>
                </a:solidFill>
              </a:rPr>
              <a:t>M-Bus</a:t>
            </a:r>
            <a:endParaRPr lang="de-DE" dirty="0">
              <a:solidFill>
                <a:srgbClr val="0A2864"/>
              </a:solidFill>
            </a:endParaRPr>
          </a:p>
        </p:txBody>
      </p:sp>
      <p:sp>
        <p:nvSpPr>
          <p:cNvPr id="13315" name="Rectangle 6"/>
          <p:cNvSpPr>
            <a:spLocks noGrp="1" noChangeArrowheads="1"/>
          </p:cNvSpPr>
          <p:nvPr>
            <p:ph idx="1"/>
          </p:nvPr>
        </p:nvSpPr>
        <p:spPr>
          <a:xfrm>
            <a:off x="551384" y="1196752"/>
            <a:ext cx="6551083" cy="4103688"/>
          </a:xfrm>
        </p:spPr>
        <p:txBody>
          <a:bodyPr/>
          <a:lstStyle/>
          <a:p>
            <a:pPr lvl="1" eaLnBrk="1" hangingPunct="1">
              <a:buClr>
                <a:srgbClr val="0A2864"/>
              </a:buClr>
            </a:pPr>
            <a:r>
              <a:rPr lang="hu-HU" sz="1800" b="1" dirty="0">
                <a:solidFill>
                  <a:srgbClr val="002060"/>
                </a:solidFill>
              </a:rPr>
              <a:t>1. Ultrahangos átfolyásmérők 0,6- 15 m</a:t>
            </a:r>
            <a:r>
              <a:rPr lang="hu-HU" sz="1800" b="1" baseline="30000" dirty="0">
                <a:solidFill>
                  <a:srgbClr val="002060"/>
                </a:solidFill>
              </a:rPr>
              <a:t>3</a:t>
            </a:r>
            <a:r>
              <a:rPr lang="hu-HU" sz="1800" b="1" dirty="0">
                <a:solidFill>
                  <a:srgbClr val="002060"/>
                </a:solidFill>
              </a:rPr>
              <a:t>/h</a:t>
            </a:r>
            <a:endParaRPr lang="de-DE" sz="1800" b="1" dirty="0">
              <a:solidFill>
                <a:srgbClr val="00206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br>
              <a:rPr lang="de-DE" dirty="0">
                <a:solidFill>
                  <a:srgbClr val="000000"/>
                </a:solidFill>
              </a:rPr>
            </a:b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  <a:p>
            <a:pPr lvl="1" eaLnBrk="1" hangingPunct="1">
              <a:buClr>
                <a:srgbClr val="0A2864"/>
              </a:buClr>
              <a:buNone/>
            </a:pPr>
            <a:endParaRPr lang="hu-HU" dirty="0">
              <a:solidFill>
                <a:srgbClr val="000000"/>
              </a:solidFill>
            </a:endParaRPr>
          </a:p>
        </p:txBody>
      </p:sp>
      <p:sp>
        <p:nvSpPr>
          <p:cNvPr id="13317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buSzPct val="100000"/>
            </a:pPr>
            <a:r>
              <a:rPr lang="de-DE">
                <a:solidFill>
                  <a:srgbClr val="3B5383"/>
                </a:solidFill>
                <a:latin typeface="Arial" charset="0"/>
              </a:rPr>
              <a:t> Slide </a:t>
            </a:r>
            <a:fld id="{FE3CA800-C515-42A7-BCBF-A76011A4A6D2}" type="slidenum">
              <a:rPr lang="de-DE" smtClean="0">
                <a:solidFill>
                  <a:srgbClr val="3B5383"/>
                </a:solidFill>
                <a:latin typeface="Arial" charset="0"/>
              </a:rPr>
              <a:pPr eaLnBrk="0" hangingPunct="0">
                <a:buSzPct val="100000"/>
              </a:pPr>
              <a:t>22</a:t>
            </a:fld>
            <a:endParaRPr lang="de-DE">
              <a:solidFill>
                <a:srgbClr val="3B5383"/>
              </a:solidFill>
              <a:latin typeface="Arial" charset="0"/>
            </a:endParaRPr>
          </a:p>
        </p:txBody>
      </p:sp>
      <p:pic>
        <p:nvPicPr>
          <p:cNvPr id="13326" name="Picture 14" descr="DSC_0694">
            <a:hlinkClick r:id="rId3" action="ppaction://hlinkpres?slideindex=1&amp;slidetitle=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2224" y="2204864"/>
            <a:ext cx="1219200" cy="152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Kép 5" descr="image00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271464" y="1484784"/>
            <a:ext cx="3255181" cy="211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Grafik 3"/>
          <p:cNvPicPr>
            <a:picLocks noChangeAspect="1"/>
          </p:cNvPicPr>
          <p:nvPr/>
        </p:nvPicPr>
        <p:blipFill rotWithShape="1">
          <a:blip r:embed="rId6" cstate="print"/>
          <a:srcRect r="3467"/>
          <a:stretch/>
        </p:blipFill>
        <p:spPr>
          <a:xfrm>
            <a:off x="6816080" y="1412776"/>
            <a:ext cx="3320816" cy="3676624"/>
          </a:xfrm>
          <a:prstGeom prst="rect">
            <a:avLst/>
          </a:prstGeom>
        </p:spPr>
      </p:pic>
      <p:sp>
        <p:nvSpPr>
          <p:cNvPr id="18" name="Téglalap 17"/>
          <p:cNvSpPr/>
          <p:nvPr/>
        </p:nvSpPr>
        <p:spPr>
          <a:xfrm>
            <a:off x="6600056" y="1124744"/>
            <a:ext cx="46089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>
              <a:buClr>
                <a:srgbClr val="0A2864"/>
              </a:buClr>
            </a:pPr>
            <a:r>
              <a:rPr lang="hu-HU" b="1" dirty="0">
                <a:solidFill>
                  <a:srgbClr val="002060"/>
                </a:solidFill>
              </a:rPr>
              <a:t>2. Számláló egység és </a:t>
            </a:r>
            <a:r>
              <a:rPr lang="hu-HU" b="1" dirty="0" err="1">
                <a:solidFill>
                  <a:srgbClr val="002060"/>
                </a:solidFill>
              </a:rPr>
              <a:t>M-Bus</a:t>
            </a:r>
            <a:r>
              <a:rPr lang="hu-HU" b="1" dirty="0">
                <a:solidFill>
                  <a:srgbClr val="002060"/>
                </a:solidFill>
              </a:rPr>
              <a:t> modul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11424" y="4437112"/>
            <a:ext cx="3390900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églalap 19"/>
          <p:cNvSpPr/>
          <p:nvPr/>
        </p:nvSpPr>
        <p:spPr>
          <a:xfrm>
            <a:off x="479376" y="3933056"/>
            <a:ext cx="33009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1">
              <a:buClr>
                <a:srgbClr val="0A2864"/>
              </a:buClr>
            </a:pPr>
            <a:r>
              <a:rPr lang="hu-HU" b="1" dirty="0">
                <a:solidFill>
                  <a:srgbClr val="002060"/>
                </a:solidFill>
              </a:rPr>
              <a:t>3. Hőmérséklet érzékelő pár</a:t>
            </a:r>
            <a:endParaRPr lang="de-DE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platzhalter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75" r="21875"/>
          <a:stretch/>
        </p:blipFill>
        <p:spPr/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i="1" dirty="0"/>
              <a:t>A Jövő elkezdődött…</a:t>
            </a:r>
            <a:br>
              <a:rPr lang="en-GB" dirty="0"/>
            </a:br>
            <a:r>
              <a:rPr lang="hu-HU" sz="2600" b="0" dirty="0"/>
              <a:t>Köszönöm a figyelmet!</a:t>
            </a:r>
            <a:endParaRPr lang="en-GB" sz="2600" b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hu-HU" dirty="0"/>
              <a:t>dr. Uzonyi Zoltán</a:t>
            </a:r>
            <a:r>
              <a:rPr lang="en-GB" dirty="0"/>
              <a:t> ▪ </a:t>
            </a:r>
            <a:r>
              <a:rPr lang="hu-HU" dirty="0"/>
              <a:t>2022.</a:t>
            </a:r>
            <a:endParaRPr lang="en-GB" dirty="0"/>
          </a:p>
        </p:txBody>
      </p:sp>
      <p:sp>
        <p:nvSpPr>
          <p:cNvPr id="6" name="Textplatzhalter 3"/>
          <p:cNvSpPr txBox="1">
            <a:spLocks/>
          </p:cNvSpPr>
          <p:nvPr/>
        </p:nvSpPr>
        <p:spPr bwMode="gray">
          <a:xfrm>
            <a:off x="1301600" y="6199276"/>
            <a:ext cx="8352384" cy="50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30000"/>
              </a:spcBef>
            </a:pPr>
            <a:r>
              <a:rPr lang="hu-HU" sz="26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uzonyi.zoltan</a:t>
            </a:r>
            <a:r>
              <a:rPr lang="hu-HU" sz="26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@</a:t>
            </a:r>
            <a:r>
              <a:rPr lang="hu-HU" sz="26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ista.hu</a:t>
            </a:r>
            <a:r>
              <a:rPr lang="hu-HU" sz="26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; </a:t>
            </a:r>
            <a:r>
              <a:rPr lang="hu-HU" sz="2600" dirty="0" err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www.ista.hu</a:t>
            </a:r>
            <a:r>
              <a:rPr lang="hu-HU" sz="26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; </a:t>
            </a:r>
            <a:endParaRPr lang="en-GB" sz="26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11358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692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2351584" y="1700213"/>
            <a:ext cx="8136904" cy="2521470"/>
          </a:xfrm>
        </p:spPr>
        <p:txBody>
          <a:bodyPr/>
          <a:lstStyle/>
          <a:p>
            <a:br>
              <a:rPr lang="en-GB" dirty="0"/>
            </a:br>
            <a:r>
              <a:rPr lang="en-GB" dirty="0"/>
              <a:t>OMS / </a:t>
            </a:r>
            <a:r>
              <a:rPr lang="hu-HU" dirty="0"/>
              <a:t>Vezeték nélküli </a:t>
            </a:r>
            <a:r>
              <a:rPr lang="en-GB" dirty="0"/>
              <a:t>M-Bus</a:t>
            </a:r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AF649C23-7044-484F-B6F2-D10B91FAE61C}"/>
              </a:ext>
            </a:extLst>
          </p:cNvPr>
          <p:cNvSpPr txBox="1">
            <a:spLocks/>
          </p:cNvSpPr>
          <p:nvPr/>
        </p:nvSpPr>
        <p:spPr bwMode="gray">
          <a:xfrm>
            <a:off x="4520208" y="4437112"/>
            <a:ext cx="6048671" cy="1080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Font typeface="Arial" panose="020B0604020202020204" pitchFamily="34" charset="0"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Rendszer tájékoztató</a:t>
            </a:r>
            <a:endParaRPr lang="en-GB" dirty="0"/>
          </a:p>
          <a:p>
            <a:pPr lvl="1"/>
            <a:r>
              <a:rPr lang="en-GB" dirty="0"/>
              <a:t>ista </a:t>
            </a:r>
            <a:r>
              <a:rPr lang="hu-HU" dirty="0"/>
              <a:t>Magyarország Kft.</a:t>
            </a:r>
            <a:r>
              <a:rPr lang="en-GB" dirty="0"/>
              <a:t> | 202</a:t>
            </a:r>
            <a:r>
              <a:rPr lang="hu-HU" dirty="0"/>
              <a:t>2</a:t>
            </a:r>
            <a:r>
              <a:rPr lang="en-GB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45520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 txBox="1">
            <a:spLocks/>
          </p:cNvSpPr>
          <p:nvPr/>
        </p:nvSpPr>
        <p:spPr bwMode="gray">
          <a:xfrm>
            <a:off x="2135560" y="1700214"/>
            <a:ext cx="3673103" cy="4392000"/>
          </a:xfrm>
          <a:prstGeom prst="rect">
            <a:avLst/>
          </a:prstGeom>
        </p:spPr>
        <p:txBody>
          <a:bodyPr vert="horz" lIns="0" tIns="1800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artalom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BEE2AD-0627-456B-BF25-7FAE630C9418}"/>
              </a:ext>
            </a:extLst>
          </p:cNvPr>
          <p:cNvSpPr txBox="1">
            <a:spLocks/>
          </p:cNvSpPr>
          <p:nvPr/>
        </p:nvSpPr>
        <p:spPr>
          <a:xfrm>
            <a:off x="6383338" y="2342572"/>
            <a:ext cx="720774" cy="6480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>
                <a:solidFill>
                  <a:schemeClr val="bg2"/>
                </a:solidFill>
              </a:rPr>
              <a:t>1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18AE3E8-A120-48F0-ADEF-F876BDB6C410}"/>
              </a:ext>
            </a:extLst>
          </p:cNvPr>
          <p:cNvSpPr txBox="1">
            <a:spLocks/>
          </p:cNvSpPr>
          <p:nvPr/>
        </p:nvSpPr>
        <p:spPr>
          <a:xfrm>
            <a:off x="6383338" y="2990627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2.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B5885640-8BA7-4DB7-8942-3756B245D58E}"/>
              </a:ext>
            </a:extLst>
          </p:cNvPr>
          <p:cNvSpPr txBox="1">
            <a:spLocks/>
          </p:cNvSpPr>
          <p:nvPr/>
        </p:nvSpPr>
        <p:spPr>
          <a:xfrm>
            <a:off x="6383338" y="3643383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3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3338" y="4291383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4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404BEEE-062D-4B61-8986-4537511F693C}"/>
              </a:ext>
            </a:extLst>
          </p:cNvPr>
          <p:cNvSpPr txBox="1">
            <a:spLocks/>
          </p:cNvSpPr>
          <p:nvPr/>
        </p:nvSpPr>
        <p:spPr>
          <a:xfrm>
            <a:off x="7104112" y="2378085"/>
            <a:ext cx="3836790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>
                <a:solidFill>
                  <a:schemeClr val="bg2"/>
                </a:solidFill>
              </a:rPr>
              <a:t>OMS</a:t>
            </a:r>
            <a:r>
              <a:rPr lang="hu-HU" dirty="0">
                <a:solidFill>
                  <a:schemeClr val="bg2"/>
                </a:solidFill>
              </a:rPr>
              <a:t> (Open </a:t>
            </a:r>
            <a:r>
              <a:rPr lang="hu-HU" dirty="0" err="1">
                <a:solidFill>
                  <a:schemeClr val="bg2"/>
                </a:solidFill>
              </a:rPr>
              <a:t>Metering</a:t>
            </a:r>
            <a:r>
              <a:rPr lang="hu-HU" dirty="0">
                <a:solidFill>
                  <a:schemeClr val="bg2"/>
                </a:solidFill>
              </a:rPr>
              <a:t> System)  és vezeték nélküli M</a:t>
            </a:r>
            <a:r>
              <a:rPr lang="en-GB" dirty="0">
                <a:solidFill>
                  <a:schemeClr val="bg2"/>
                </a:solidFill>
              </a:rPr>
              <a:t>-Bu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EAD213C-C37D-4C92-A23E-1545B34B9A20}"/>
              </a:ext>
            </a:extLst>
          </p:cNvPr>
          <p:cNvSpPr txBox="1">
            <a:spLocks/>
          </p:cNvSpPr>
          <p:nvPr/>
        </p:nvSpPr>
        <p:spPr>
          <a:xfrm>
            <a:off x="7104112" y="3008401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ista </a:t>
            </a:r>
            <a:r>
              <a:rPr lang="hu-HU" dirty="0"/>
              <a:t>OMS termék portfólió</a:t>
            </a:r>
            <a:endParaRPr lang="en-GB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06F4CBC2-A435-45BB-B016-AA955E15175A}"/>
              </a:ext>
            </a:extLst>
          </p:cNvPr>
          <p:cNvSpPr txBox="1">
            <a:spLocks/>
          </p:cNvSpPr>
          <p:nvPr/>
        </p:nvSpPr>
        <p:spPr>
          <a:xfrm>
            <a:off x="7104112" y="3661139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Műszaki információk</a:t>
            </a:r>
            <a:endParaRPr lang="en-GB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04112" y="4291383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3338" y="4939383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5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04112" y="4939383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Esettanulmán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3594112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sz="2400" b="1" dirty="0">
                <a:solidFill>
                  <a:srgbClr val="0A2864"/>
                </a:solidFill>
              </a:rPr>
              <a:t>OMS – open metering system</a:t>
            </a:r>
          </a:p>
          <a:p>
            <a:r>
              <a:rPr lang="hu-HU" sz="2000" dirty="0"/>
              <a:t>Nyílt szabvány az eszközök biztonságos kommunikációjára az </a:t>
            </a:r>
            <a:r>
              <a:rPr lang="hu-HU" sz="2000" dirty="0" err="1"/>
              <a:t>interoperabilitiás</a:t>
            </a:r>
            <a:r>
              <a:rPr lang="hu-HU" sz="2000" dirty="0"/>
              <a:t> érdekében (kölcsönös hozzáférés/kiolvashatóság)</a:t>
            </a:r>
            <a:br>
              <a:rPr lang="en-GB" dirty="0"/>
            </a:br>
            <a:endParaRPr lang="en-GB" dirty="0"/>
          </a:p>
          <a:p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lvl="1"/>
            <a:r>
              <a:rPr lang="en-GB" sz="2400" b="1" dirty="0" err="1">
                <a:solidFill>
                  <a:srgbClr val="0A2864"/>
                </a:solidFill>
              </a:rPr>
              <a:t>Vezeték</a:t>
            </a:r>
            <a:r>
              <a:rPr lang="en-GB" sz="2400" b="1" dirty="0">
                <a:solidFill>
                  <a:srgbClr val="0A2864"/>
                </a:solidFill>
              </a:rPr>
              <a:t> </a:t>
            </a:r>
            <a:r>
              <a:rPr lang="en-GB" sz="2400" b="1" dirty="0" err="1">
                <a:solidFill>
                  <a:srgbClr val="0A2864"/>
                </a:solidFill>
              </a:rPr>
              <a:t>nélküli</a:t>
            </a:r>
            <a:r>
              <a:rPr lang="en-GB" sz="2400" b="1" dirty="0">
                <a:solidFill>
                  <a:srgbClr val="0A2864"/>
                </a:solidFill>
              </a:rPr>
              <a:t> M-Bus – (</a:t>
            </a:r>
            <a:r>
              <a:rPr lang="en-GB" sz="2400" b="1" dirty="0" err="1">
                <a:solidFill>
                  <a:srgbClr val="0A2864"/>
                </a:solidFill>
              </a:rPr>
              <a:t>wM</a:t>
            </a:r>
            <a:r>
              <a:rPr lang="en-GB" sz="2400" b="1" dirty="0">
                <a:solidFill>
                  <a:srgbClr val="0A2864"/>
                </a:solidFill>
              </a:rPr>
              <a:t>-Bus):</a:t>
            </a:r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1800" dirty="0" err="1"/>
              <a:t>M-Bus-ra</a:t>
            </a:r>
            <a:r>
              <a:rPr lang="hu-HU" sz="1800" dirty="0"/>
              <a:t> alapuló, gyártó és iparág független kommunikációs standard az okos mérés területén</a:t>
            </a:r>
            <a:endParaRPr lang="en-GB" sz="1800" dirty="0"/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1800" dirty="0"/>
              <a:t>Az </a:t>
            </a:r>
            <a:r>
              <a:rPr lang="en-GB" sz="1800" dirty="0"/>
              <a:t>M-Bus </a:t>
            </a:r>
            <a:r>
              <a:rPr lang="hu-HU" sz="1800" dirty="0"/>
              <a:t>vezeték nélküli változata</a:t>
            </a:r>
            <a:r>
              <a:rPr lang="en-GB" sz="1800" dirty="0"/>
              <a:t> </a:t>
            </a:r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1800" dirty="0"/>
              <a:t>Megfelel a </a:t>
            </a:r>
            <a:r>
              <a:rPr lang="en-GB" sz="1800" dirty="0"/>
              <a:t>DIN EN 13757-4 </a:t>
            </a:r>
            <a:r>
              <a:rPr lang="hu-HU" sz="1800" dirty="0"/>
              <a:t>szabványnak és elemmel működő eszközök integrálására is alkalmas</a:t>
            </a:r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1800" dirty="0"/>
              <a:t>Rendszerint egyirányú kommunikáció a mérők és az adatgyűjtő között</a:t>
            </a:r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r>
              <a:rPr lang="hu-HU" sz="1800" dirty="0"/>
              <a:t>Titkosítás lehetséges</a:t>
            </a:r>
            <a:endParaRPr lang="en-GB" sz="1800" dirty="0"/>
          </a:p>
          <a:p>
            <a:pPr marL="180000" lvl="2" indent="-180000">
              <a:buClr>
                <a:srgbClr val="0A2864"/>
              </a:buClr>
              <a:buFont typeface="Wingdings" panose="05000000000000000000" pitchFamily="2" charset="2"/>
              <a:buChar char="§"/>
            </a:pPr>
            <a:endParaRPr lang="en-GB" sz="1800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 az </a:t>
            </a:r>
            <a:r>
              <a:rPr lang="en-GB" dirty="0"/>
              <a:t>OMS </a:t>
            </a:r>
            <a:r>
              <a:rPr lang="hu-HU" dirty="0"/>
              <a:t>és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?</a:t>
            </a: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5</a:t>
            </a:fld>
            <a:endParaRPr lang="en-GB"/>
          </a:p>
        </p:txBody>
      </p:sp>
      <p:cxnSp>
        <p:nvCxnSpPr>
          <p:cNvPr id="10" name="Gerader Verbinder 9"/>
          <p:cNvCxnSpPr/>
          <p:nvPr/>
        </p:nvCxnSpPr>
        <p:spPr bwMode="gray">
          <a:xfrm>
            <a:off x="6096000" y="1700212"/>
            <a:ext cx="0" cy="4392613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375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 cstate="print"/>
          <a:srcRect b="3011"/>
          <a:stretch/>
        </p:blipFill>
        <p:spPr>
          <a:xfrm>
            <a:off x="2132878" y="779759"/>
            <a:ext cx="8087940" cy="5550818"/>
          </a:xfrm>
          <a:prstGeom prst="rect">
            <a:avLst/>
          </a:prstGeom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inden eszköz ugyanazt a nyelvet „beszéli”</a:t>
            </a:r>
            <a:br>
              <a:rPr lang="en-GB" dirty="0"/>
            </a:b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3" name="Ovale Legende 2"/>
          <p:cNvSpPr/>
          <p:nvPr/>
        </p:nvSpPr>
        <p:spPr bwMode="gray">
          <a:xfrm>
            <a:off x="8976320" y="949142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19" name="Ovale Legende 18"/>
          <p:cNvSpPr/>
          <p:nvPr/>
        </p:nvSpPr>
        <p:spPr bwMode="gray">
          <a:xfrm>
            <a:off x="9444372" y="2171872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0" name="Ovale Legende 19"/>
          <p:cNvSpPr/>
          <p:nvPr/>
        </p:nvSpPr>
        <p:spPr bwMode="gray">
          <a:xfrm>
            <a:off x="9364543" y="3549695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1" name="Ovale Legende 20"/>
          <p:cNvSpPr/>
          <p:nvPr/>
        </p:nvSpPr>
        <p:spPr bwMode="gray">
          <a:xfrm>
            <a:off x="8343586" y="5085184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2" name="Ovale Legende 21"/>
          <p:cNvSpPr/>
          <p:nvPr/>
        </p:nvSpPr>
        <p:spPr bwMode="gray">
          <a:xfrm flipH="1">
            <a:off x="2238673" y="946755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3" name="Ovale Legende 22"/>
          <p:cNvSpPr/>
          <p:nvPr/>
        </p:nvSpPr>
        <p:spPr bwMode="gray">
          <a:xfrm flipH="1">
            <a:off x="1941280" y="2157381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4" name="Ovale Legende 23"/>
          <p:cNvSpPr/>
          <p:nvPr/>
        </p:nvSpPr>
        <p:spPr bwMode="gray">
          <a:xfrm flipH="1">
            <a:off x="1919255" y="3668707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  <p:sp>
        <p:nvSpPr>
          <p:cNvPr id="25" name="Ovale Legende 24"/>
          <p:cNvSpPr/>
          <p:nvPr/>
        </p:nvSpPr>
        <p:spPr bwMode="gray">
          <a:xfrm flipH="1">
            <a:off x="2262583" y="5025017"/>
            <a:ext cx="936104" cy="550649"/>
          </a:xfrm>
          <a:prstGeom prst="wedgeEllipseCallout">
            <a:avLst/>
          </a:prstGeom>
          <a:solidFill>
            <a:srgbClr val="0055B4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 b="1">
                <a:solidFill>
                  <a:schemeClr val="bg1"/>
                </a:solidFill>
              </a:rPr>
              <a:t>OMS</a:t>
            </a:r>
          </a:p>
        </p:txBody>
      </p:sp>
    </p:spTree>
    <p:extLst>
      <p:ext uri="{BB962C8B-B14F-4D97-AF65-F5344CB8AC3E}">
        <p14:creationId xmlns:p14="http://schemas.microsoft.com/office/powerpoint/2010/main" val="3933964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1" name="Gerader Verbinder 50"/>
          <p:cNvCxnSpPr>
            <a:stCxn id="48" idx="4"/>
            <a:endCxn id="38" idx="0"/>
          </p:cNvCxnSpPr>
          <p:nvPr/>
        </p:nvCxnSpPr>
        <p:spPr bwMode="gray">
          <a:xfrm>
            <a:off x="6095800" y="3053753"/>
            <a:ext cx="1" cy="350837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/>
          <p:cNvCxnSpPr>
            <a:stCxn id="38" idx="2"/>
          </p:cNvCxnSpPr>
          <p:nvPr/>
        </p:nvCxnSpPr>
        <p:spPr bwMode="gray">
          <a:xfrm flipH="1">
            <a:off x="6095800" y="3927584"/>
            <a:ext cx="1" cy="457132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/>
          <p:cNvCxnSpPr>
            <a:stCxn id="38" idx="1"/>
          </p:cNvCxnSpPr>
          <p:nvPr/>
        </p:nvCxnSpPr>
        <p:spPr bwMode="gray">
          <a:xfrm flipH="1" flipV="1">
            <a:off x="3983359" y="3660852"/>
            <a:ext cx="1524842" cy="5235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lipse 45"/>
          <p:cNvSpPr/>
          <p:nvPr/>
        </p:nvSpPr>
        <p:spPr bwMode="gray">
          <a:xfrm>
            <a:off x="5279740" y="4507645"/>
            <a:ext cx="1801562" cy="1801562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ipikus alkalmazási területek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MS and </a:t>
            </a:r>
            <a:r>
              <a:rPr lang="en-GB" dirty="0" err="1"/>
              <a:t>V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7</a:t>
            </a:fld>
            <a:endParaRPr lang="en-GB"/>
          </a:p>
        </p:txBody>
      </p:sp>
      <p:grpSp>
        <p:nvGrpSpPr>
          <p:cNvPr id="29" name="Gruppieren 28"/>
          <p:cNvGrpSpPr/>
          <p:nvPr/>
        </p:nvGrpSpPr>
        <p:grpSpPr>
          <a:xfrm>
            <a:off x="2522659" y="3828727"/>
            <a:ext cx="1182363" cy="294013"/>
            <a:chOff x="1199545" y="4293288"/>
            <a:chExt cx="1675344" cy="416600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624135" y="4293288"/>
              <a:ext cx="401574" cy="401574"/>
            </a:xfrm>
            <a:prstGeom prst="rect">
              <a:avLst/>
            </a:prstGeom>
          </p:spPr>
        </p:pic>
        <p:pic>
          <p:nvPicPr>
            <p:cNvPr id="15" name="Grafik 14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048725" y="4293288"/>
              <a:ext cx="401574" cy="401574"/>
            </a:xfrm>
            <a:prstGeom prst="rect">
              <a:avLst/>
            </a:prstGeom>
          </p:spPr>
        </p:pic>
        <p:pic>
          <p:nvPicPr>
            <p:cNvPr id="16" name="Grafik 15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73315" y="4308314"/>
              <a:ext cx="401574" cy="401574"/>
            </a:xfrm>
            <a:prstGeom prst="rect">
              <a:avLst/>
            </a:prstGeom>
          </p:spPr>
        </p:pic>
        <p:pic>
          <p:nvPicPr>
            <p:cNvPr id="17" name="Grafik 16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99545" y="4293288"/>
              <a:ext cx="401574" cy="401574"/>
            </a:xfrm>
            <a:prstGeom prst="rect">
              <a:avLst/>
            </a:prstGeom>
          </p:spPr>
        </p:pic>
      </p:grpSp>
      <p:grpSp>
        <p:nvGrpSpPr>
          <p:cNvPr id="30" name="Gruppieren 29"/>
          <p:cNvGrpSpPr/>
          <p:nvPr/>
        </p:nvGrpSpPr>
        <p:grpSpPr>
          <a:xfrm>
            <a:off x="5462261" y="4317943"/>
            <a:ext cx="1482015" cy="1377482"/>
            <a:chOff x="3770855" y="1366370"/>
            <a:chExt cx="2099934" cy="1951816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986572" y="1366370"/>
              <a:ext cx="1668501" cy="1482126"/>
            </a:xfrm>
            <a:prstGeom prst="rect">
              <a:avLst/>
            </a:prstGeom>
          </p:spPr>
        </p:pic>
        <p:grpSp>
          <p:nvGrpSpPr>
            <p:cNvPr id="27" name="Gruppieren 26"/>
            <p:cNvGrpSpPr/>
            <p:nvPr/>
          </p:nvGrpSpPr>
          <p:grpSpPr>
            <a:xfrm>
              <a:off x="3770855" y="2899676"/>
              <a:ext cx="2099934" cy="418510"/>
              <a:chOff x="3770855" y="2899676"/>
              <a:chExt cx="2099934" cy="418510"/>
            </a:xfrm>
          </p:grpSpPr>
          <p:pic>
            <p:nvPicPr>
              <p:cNvPr id="14" name="Grafik 13"/>
              <p:cNvPicPr>
                <a:picLocks noChangeAspect="1"/>
              </p:cNvPicPr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5469215" y="2899676"/>
                <a:ext cx="401574" cy="401574"/>
              </a:xfrm>
              <a:prstGeom prst="rect">
                <a:avLst/>
              </a:prstGeom>
            </p:spPr>
          </p:pic>
          <p:pic>
            <p:nvPicPr>
              <p:cNvPr id="18" name="Grafik 17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195445" y="2901586"/>
                <a:ext cx="401574" cy="401574"/>
              </a:xfrm>
              <a:prstGeom prst="rect">
                <a:avLst/>
              </a:prstGeom>
            </p:spPr>
          </p:pic>
          <p:pic>
            <p:nvPicPr>
              <p:cNvPr id="19" name="Grafik 18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4620035" y="2901586"/>
                <a:ext cx="401574" cy="401574"/>
              </a:xfrm>
              <a:prstGeom prst="rect">
                <a:avLst/>
              </a:prstGeom>
            </p:spPr>
          </p:pic>
          <p:pic>
            <p:nvPicPr>
              <p:cNvPr id="20" name="Grafik 19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044625" y="2916612"/>
                <a:ext cx="401574" cy="401574"/>
              </a:xfrm>
              <a:prstGeom prst="rect">
                <a:avLst/>
              </a:prstGeom>
            </p:spPr>
          </p:pic>
          <p:pic>
            <p:nvPicPr>
              <p:cNvPr id="21" name="Grafik 20"/>
              <p:cNvPicPr>
                <a:picLocks noChangeAspect="1"/>
              </p:cNvPicPr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770855" y="2901586"/>
                <a:ext cx="401574" cy="401574"/>
              </a:xfrm>
              <a:prstGeom prst="rect">
                <a:avLst/>
              </a:prstGeom>
            </p:spPr>
          </p:pic>
        </p:grpSp>
      </p:grpSp>
      <p:grpSp>
        <p:nvGrpSpPr>
          <p:cNvPr id="28" name="Gruppieren 27"/>
          <p:cNvGrpSpPr/>
          <p:nvPr/>
        </p:nvGrpSpPr>
        <p:grpSpPr>
          <a:xfrm>
            <a:off x="8091296" y="3872952"/>
            <a:ext cx="1482015" cy="295361"/>
            <a:chOff x="6596826" y="4306404"/>
            <a:chExt cx="2099934" cy="418510"/>
          </a:xfrm>
        </p:grpSpPr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295186" y="4306404"/>
              <a:ext cx="401574" cy="401574"/>
            </a:xfrm>
            <a:prstGeom prst="rect">
              <a:avLst/>
            </a:prstGeom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21416" y="4308314"/>
              <a:ext cx="401574" cy="401574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7446006" y="4308314"/>
              <a:ext cx="401574" cy="401574"/>
            </a:xfrm>
            <a:prstGeom prst="rect">
              <a:avLst/>
            </a:prstGeom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870596" y="4323340"/>
              <a:ext cx="401574" cy="401574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596826" y="4308314"/>
              <a:ext cx="401574" cy="401574"/>
            </a:xfrm>
            <a:prstGeom prst="rect">
              <a:avLst/>
            </a:prstGeom>
          </p:spPr>
        </p:pic>
      </p:grpSp>
      <p:sp>
        <p:nvSpPr>
          <p:cNvPr id="34" name="Textfeld 33"/>
          <p:cNvSpPr txBox="1"/>
          <p:nvPr/>
        </p:nvSpPr>
        <p:spPr bwMode="gray">
          <a:xfrm>
            <a:off x="1775520" y="5291862"/>
            <a:ext cx="914400" cy="22537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endParaRPr lang="de-DE" sz="1600" dirty="0"/>
          </a:p>
        </p:txBody>
      </p:sp>
      <p:sp>
        <p:nvSpPr>
          <p:cNvPr id="35" name="Rechteck 34"/>
          <p:cNvSpPr/>
          <p:nvPr/>
        </p:nvSpPr>
        <p:spPr>
          <a:xfrm>
            <a:off x="2654418" y="4151153"/>
            <a:ext cx="918842" cy="295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200" b="1" dirty="0"/>
              <a:t>(Fő)</a:t>
            </a:r>
            <a:r>
              <a:rPr lang="en-GB" sz="1200" b="1" dirty="0"/>
              <a:t>M</a:t>
            </a:r>
            <a:r>
              <a:rPr lang="hu-HU" sz="1200" b="1" dirty="0"/>
              <a:t>érés</a:t>
            </a:r>
            <a:endParaRPr lang="en-GB" sz="1200" b="1" dirty="0"/>
          </a:p>
        </p:txBody>
      </p:sp>
      <p:sp>
        <p:nvSpPr>
          <p:cNvPr id="36" name="Rechteck 35"/>
          <p:cNvSpPr/>
          <p:nvPr/>
        </p:nvSpPr>
        <p:spPr>
          <a:xfrm>
            <a:off x="8437803" y="4196726"/>
            <a:ext cx="788999" cy="2797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200" b="1" dirty="0" err="1"/>
              <a:t>Almérés</a:t>
            </a:r>
            <a:endParaRPr lang="en-GB" sz="1200" b="1" dirty="0"/>
          </a:p>
        </p:txBody>
      </p:sp>
      <p:sp>
        <p:nvSpPr>
          <p:cNvPr id="37" name="Rechteck 36"/>
          <p:cNvSpPr/>
          <p:nvPr/>
        </p:nvSpPr>
        <p:spPr>
          <a:xfrm>
            <a:off x="5269360" y="5641971"/>
            <a:ext cx="18678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1200" b="1" dirty="0" err="1"/>
              <a:t>Ener</a:t>
            </a:r>
            <a:r>
              <a:rPr lang="hu-HU" sz="1200" b="1" dirty="0" err="1"/>
              <a:t>gia</a:t>
            </a:r>
            <a:r>
              <a:rPr lang="en-GB" sz="1200" b="1" dirty="0"/>
              <a:t> m</a:t>
            </a:r>
            <a:r>
              <a:rPr lang="hu-HU" sz="1200" b="1" dirty="0" err="1"/>
              <a:t>enedzsment</a:t>
            </a:r>
            <a:endParaRPr lang="en-GB" sz="1200" b="1" dirty="0"/>
          </a:p>
        </p:txBody>
      </p:sp>
      <p:pic>
        <p:nvPicPr>
          <p:cNvPr id="38" name="Grafik 37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508201" y="3404590"/>
            <a:ext cx="1175199" cy="522994"/>
          </a:xfrm>
          <a:prstGeom prst="rect">
            <a:avLst/>
          </a:prstGeom>
        </p:spPr>
      </p:pic>
      <p:sp>
        <p:nvSpPr>
          <p:cNvPr id="40" name="Ellipse 39"/>
          <p:cNvSpPr/>
          <p:nvPr/>
        </p:nvSpPr>
        <p:spPr bwMode="gray">
          <a:xfrm>
            <a:off x="7931523" y="2851574"/>
            <a:ext cx="1801562" cy="1801562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5370194" y="2088992"/>
            <a:ext cx="1444626" cy="538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200" b="1" dirty="0"/>
              <a:t>Otthon és épület </a:t>
            </a:r>
          </a:p>
          <a:p>
            <a:pPr algn="ctr"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200" b="1" dirty="0"/>
              <a:t>automatizálás</a:t>
            </a:r>
            <a:endParaRPr lang="en-GB" sz="1200" b="1" dirty="0"/>
          </a:p>
        </p:txBody>
      </p:sp>
      <p:sp>
        <p:nvSpPr>
          <p:cNvPr id="45" name="Ellipse 44"/>
          <p:cNvSpPr/>
          <p:nvPr/>
        </p:nvSpPr>
        <p:spPr bwMode="gray">
          <a:xfrm>
            <a:off x="2181797" y="2707558"/>
            <a:ext cx="1801562" cy="1801562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049479" y="2666952"/>
            <a:ext cx="1574913" cy="1166087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423592" y="2248644"/>
            <a:ext cx="1326891" cy="1549427"/>
          </a:xfrm>
          <a:prstGeom prst="rect">
            <a:avLst/>
          </a:prstGeom>
        </p:spPr>
      </p:pic>
      <p:sp>
        <p:nvSpPr>
          <p:cNvPr id="48" name="Ellipse 47"/>
          <p:cNvSpPr/>
          <p:nvPr/>
        </p:nvSpPr>
        <p:spPr bwMode="gray">
          <a:xfrm>
            <a:off x="5195019" y="1252191"/>
            <a:ext cx="1801562" cy="1801562"/>
          </a:xfrm>
          <a:prstGeom prst="ellipse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5591944" y="1054454"/>
            <a:ext cx="1039913" cy="1039913"/>
          </a:xfrm>
          <a:prstGeom prst="rect">
            <a:avLst/>
          </a:prstGeom>
        </p:spPr>
      </p:pic>
      <p:sp>
        <p:nvSpPr>
          <p:cNvPr id="65" name="Nach rechts gekrümmter Pfeil 64"/>
          <p:cNvSpPr/>
          <p:nvPr/>
        </p:nvSpPr>
        <p:spPr bwMode="gray">
          <a:xfrm rot="6122392">
            <a:off x="7505221" y="1052933"/>
            <a:ext cx="641340" cy="2032676"/>
          </a:xfrm>
          <a:prstGeom prst="curvedRightArrow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66" name="Nach rechts gekrümmter Pfeil 65"/>
          <p:cNvSpPr/>
          <p:nvPr/>
        </p:nvSpPr>
        <p:spPr bwMode="gray">
          <a:xfrm rot="15443930" flipH="1">
            <a:off x="4034115" y="1022239"/>
            <a:ext cx="641340" cy="2032676"/>
          </a:xfrm>
          <a:prstGeom prst="curvedRightArrow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67" name="Nach rechts gekrümmter Pfeil 66"/>
          <p:cNvSpPr/>
          <p:nvPr/>
        </p:nvSpPr>
        <p:spPr bwMode="gray">
          <a:xfrm rot="10800000" flipH="1">
            <a:off x="4997078" y="2668102"/>
            <a:ext cx="641340" cy="2032676"/>
          </a:xfrm>
          <a:prstGeom prst="curvedRightArrow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68" name="Textfeld 67"/>
          <p:cNvSpPr txBox="1"/>
          <p:nvPr/>
        </p:nvSpPr>
        <p:spPr bwMode="gray">
          <a:xfrm>
            <a:off x="950946" y="1646396"/>
            <a:ext cx="2715867" cy="480786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1400" dirty="0">
                <a:solidFill>
                  <a:schemeClr val="bg1"/>
                </a:solidFill>
              </a:rPr>
              <a:t>A</a:t>
            </a:r>
            <a:r>
              <a:rPr lang="hu-HU" sz="1400" dirty="0" err="1">
                <a:solidFill>
                  <a:schemeClr val="bg1"/>
                </a:solidFill>
              </a:rPr>
              <a:t>ktuális</a:t>
            </a:r>
            <a:r>
              <a:rPr lang="hu-HU" sz="1400" dirty="0">
                <a:solidFill>
                  <a:schemeClr val="bg1"/>
                </a:solidFill>
              </a:rPr>
              <a:t> energiafogyasztás mérése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9" name="Textfeld 68"/>
          <p:cNvSpPr txBox="1"/>
          <p:nvPr/>
        </p:nvSpPr>
        <p:spPr bwMode="gray">
          <a:xfrm>
            <a:off x="8664783" y="1630215"/>
            <a:ext cx="2666793" cy="752699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1400" dirty="0">
                <a:solidFill>
                  <a:schemeClr val="bg1"/>
                </a:solidFill>
              </a:rPr>
              <a:t>A</a:t>
            </a:r>
            <a:r>
              <a:rPr lang="hu-HU" sz="1400" dirty="0" err="1">
                <a:solidFill>
                  <a:schemeClr val="bg1"/>
                </a:solidFill>
              </a:rPr>
              <a:t>ktuális</a:t>
            </a:r>
            <a:r>
              <a:rPr lang="hu-HU" sz="1400" dirty="0">
                <a:solidFill>
                  <a:schemeClr val="bg1"/>
                </a:solidFill>
              </a:rPr>
              <a:t> energia fogyasztás 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400" dirty="0">
                <a:solidFill>
                  <a:schemeClr val="bg1"/>
                </a:solidFill>
              </a:rPr>
              <a:t>mérése és vezérlés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70" name="Textfeld 69"/>
          <p:cNvSpPr txBox="1"/>
          <p:nvPr/>
        </p:nvSpPr>
        <p:spPr bwMode="gray">
          <a:xfrm>
            <a:off x="3654488" y="4532624"/>
            <a:ext cx="1697376" cy="840592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1400" dirty="0">
                <a:solidFill>
                  <a:schemeClr val="bg1"/>
                </a:solidFill>
              </a:rPr>
              <a:t>E</a:t>
            </a:r>
            <a:r>
              <a:rPr lang="hu-HU" sz="1400" dirty="0" err="1">
                <a:solidFill>
                  <a:schemeClr val="bg1"/>
                </a:solidFill>
              </a:rPr>
              <a:t>nergia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400" dirty="0">
                <a:solidFill>
                  <a:schemeClr val="bg1"/>
                </a:solidFill>
              </a:rPr>
              <a:t>menedzsment és </a:t>
            </a:r>
          </a:p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hu-HU" sz="1400" dirty="0">
                <a:solidFill>
                  <a:schemeClr val="bg1"/>
                </a:solidFill>
              </a:rPr>
              <a:t>optimalizálás</a:t>
            </a:r>
            <a:endParaRPr lang="en-GB" sz="1400" dirty="0">
              <a:solidFill>
                <a:schemeClr val="bg1"/>
              </a:solidFill>
            </a:endParaRPr>
          </a:p>
        </p:txBody>
      </p:sp>
      <p:cxnSp>
        <p:nvCxnSpPr>
          <p:cNvPr id="75" name="Gerader Verbinder 74"/>
          <p:cNvCxnSpPr>
            <a:endCxn id="38" idx="3"/>
          </p:cNvCxnSpPr>
          <p:nvPr/>
        </p:nvCxnSpPr>
        <p:spPr bwMode="gray">
          <a:xfrm flipH="1" flipV="1">
            <a:off x="6683400" y="3666087"/>
            <a:ext cx="1255860" cy="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399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 txBox="1">
            <a:spLocks/>
          </p:cNvSpPr>
          <p:nvPr/>
        </p:nvSpPr>
        <p:spPr bwMode="gray">
          <a:xfrm>
            <a:off x="2135560" y="1700214"/>
            <a:ext cx="3673103" cy="4392000"/>
          </a:xfrm>
          <a:prstGeom prst="rect">
            <a:avLst/>
          </a:prstGeom>
        </p:spPr>
        <p:txBody>
          <a:bodyPr vert="horz" lIns="0" tIns="1800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dirty="0"/>
              <a:t>Tartalom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EBEE2AD-0627-456B-BF25-7FAE630C9418}"/>
              </a:ext>
            </a:extLst>
          </p:cNvPr>
          <p:cNvSpPr txBox="1">
            <a:spLocks/>
          </p:cNvSpPr>
          <p:nvPr/>
        </p:nvSpPr>
        <p:spPr>
          <a:xfrm>
            <a:off x="6383338" y="2342572"/>
            <a:ext cx="720774" cy="64807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/>
              <a:t>1.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618AE3E8-A120-48F0-ADEF-F876BDB6C410}"/>
              </a:ext>
            </a:extLst>
          </p:cNvPr>
          <p:cNvSpPr txBox="1">
            <a:spLocks/>
          </p:cNvSpPr>
          <p:nvPr/>
        </p:nvSpPr>
        <p:spPr>
          <a:xfrm>
            <a:off x="6383338" y="2990627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GB" sz="2800">
                <a:solidFill>
                  <a:schemeClr val="bg2"/>
                </a:solidFill>
              </a:rPr>
              <a:t>2.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4032" y="3645024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/>
              <a:t>3</a:t>
            </a:r>
            <a:r>
              <a:rPr lang="en-GB" sz="2800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7404BEEE-062D-4B61-8986-4537511F693C}"/>
              </a:ext>
            </a:extLst>
          </p:cNvPr>
          <p:cNvSpPr txBox="1">
            <a:spLocks/>
          </p:cNvSpPr>
          <p:nvPr/>
        </p:nvSpPr>
        <p:spPr>
          <a:xfrm>
            <a:off x="7104112" y="2378085"/>
            <a:ext cx="3836790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OMS and </a:t>
            </a:r>
            <a:r>
              <a:rPr lang="hu-HU" dirty="0" err="1"/>
              <a:t>v</a:t>
            </a:r>
            <a:r>
              <a:rPr lang="en-GB" dirty="0" err="1"/>
              <a:t>ezeték</a:t>
            </a:r>
            <a:r>
              <a:rPr lang="en-GB" dirty="0"/>
              <a:t> </a:t>
            </a:r>
            <a:r>
              <a:rPr lang="en-GB" dirty="0" err="1"/>
              <a:t>nélküli</a:t>
            </a:r>
            <a:r>
              <a:rPr lang="en-GB" dirty="0"/>
              <a:t> M-Bu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EAD213C-C37D-4C92-A23E-1545B34B9A20}"/>
              </a:ext>
            </a:extLst>
          </p:cNvPr>
          <p:cNvSpPr txBox="1">
            <a:spLocks/>
          </p:cNvSpPr>
          <p:nvPr/>
        </p:nvSpPr>
        <p:spPr>
          <a:xfrm>
            <a:off x="7104112" y="3008401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>
                <a:solidFill>
                  <a:schemeClr val="bg2"/>
                </a:solidFill>
              </a:rPr>
              <a:t>ista </a:t>
            </a:r>
            <a:r>
              <a:rPr lang="hu-HU" dirty="0">
                <a:solidFill>
                  <a:schemeClr val="bg2"/>
                </a:solidFill>
              </a:rPr>
              <a:t>termék portfólió</a:t>
            </a: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04112" y="3717032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Rendszer felépítés</a:t>
            </a:r>
            <a:endParaRPr lang="en-GB" dirty="0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745CD41A-BB75-4161-9144-587D83C5687B}"/>
              </a:ext>
            </a:extLst>
          </p:cNvPr>
          <p:cNvSpPr txBox="1">
            <a:spLocks/>
          </p:cNvSpPr>
          <p:nvPr/>
        </p:nvSpPr>
        <p:spPr>
          <a:xfrm>
            <a:off x="6384032" y="4365104"/>
            <a:ext cx="720774" cy="648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None/>
              <a:defRPr sz="3600" b="0" kern="1200" cap="all" spc="5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hu-HU" sz="2800" dirty="0"/>
              <a:t>4</a:t>
            </a:r>
            <a:r>
              <a:rPr lang="en-GB" sz="2800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5CBCEF36-EC97-476A-A300-5E5ED77EDED6}"/>
              </a:ext>
            </a:extLst>
          </p:cNvPr>
          <p:cNvSpPr txBox="1">
            <a:spLocks/>
          </p:cNvSpPr>
          <p:nvPr/>
        </p:nvSpPr>
        <p:spPr>
          <a:xfrm>
            <a:off x="7104112" y="4437112"/>
            <a:ext cx="4753094" cy="648000"/>
          </a:xfrm>
          <a:prstGeom prst="rect">
            <a:avLst/>
          </a:prstGeom>
        </p:spPr>
        <p:txBody>
          <a:bodyPr lIns="0" tIns="0" rIns="0" bIns="57600" anchor="b"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288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88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chemeClr val="bg2"/>
              </a:buClr>
              <a:buFont typeface="Wingdings 2" panose="05020102010507070707" pitchFamily="18" charset="2"/>
              <a:buChar char="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hu-HU" dirty="0"/>
              <a:t>Esettanulmán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8901167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MS </a:t>
            </a:r>
            <a:r>
              <a:rPr lang="hu-HU" dirty="0"/>
              <a:t>termékek az </a:t>
            </a:r>
            <a:r>
              <a:rPr lang="hu-HU" dirty="0" err="1"/>
              <a:t>ista-tól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ista product portfolio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34183" y="1928011"/>
            <a:ext cx="3147698" cy="2994942"/>
          </a:xfrm>
          <a:prstGeom prst="rect">
            <a:avLst/>
          </a:prstGeom>
        </p:spPr>
      </p:pic>
      <p:sp>
        <p:nvSpPr>
          <p:cNvPr id="71" name="Textfeld 70"/>
          <p:cNvSpPr txBox="1"/>
          <p:nvPr/>
        </p:nvSpPr>
        <p:spPr bwMode="gray">
          <a:xfrm>
            <a:off x="5051668" y="2996928"/>
            <a:ext cx="1512729" cy="12241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en-GB" sz="1900" b="1" dirty="0">
                <a:solidFill>
                  <a:schemeClr val="bg1"/>
                </a:solidFill>
              </a:rPr>
              <a:t> ISTA OMS </a:t>
            </a:r>
            <a:r>
              <a:rPr lang="hu-HU" sz="1900" b="1" dirty="0">
                <a:solidFill>
                  <a:schemeClr val="bg1"/>
                </a:solidFill>
              </a:rPr>
              <a:t>Termék</a:t>
            </a:r>
            <a:r>
              <a:rPr lang="en-GB" sz="1900" b="1" dirty="0">
                <a:solidFill>
                  <a:schemeClr val="bg1"/>
                </a:solidFill>
              </a:rPr>
              <a:t> P</a:t>
            </a:r>
            <a:r>
              <a:rPr lang="hu-HU" sz="1900" b="1" dirty="0" err="1">
                <a:solidFill>
                  <a:schemeClr val="bg1"/>
                </a:solidFill>
              </a:rPr>
              <a:t>ortfólió</a:t>
            </a:r>
            <a:endParaRPr lang="en-GB" sz="1900" b="1" dirty="0">
              <a:solidFill>
                <a:schemeClr val="bg1"/>
              </a:solidFill>
            </a:endParaRPr>
          </a:p>
        </p:txBody>
      </p:sp>
      <p:sp>
        <p:nvSpPr>
          <p:cNvPr id="72" name="Ellipse 71"/>
          <p:cNvSpPr/>
          <p:nvPr/>
        </p:nvSpPr>
        <p:spPr bwMode="gray">
          <a:xfrm>
            <a:off x="6024255" y="1112900"/>
            <a:ext cx="1867393" cy="1867393"/>
          </a:xfrm>
          <a:prstGeom prst="ellipse">
            <a:avLst/>
          </a:prstGeom>
          <a:solidFill>
            <a:srgbClr val="0055B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74" name="Ellipse 73"/>
          <p:cNvSpPr/>
          <p:nvPr/>
        </p:nvSpPr>
        <p:spPr bwMode="gray">
          <a:xfrm>
            <a:off x="4849491" y="4567943"/>
            <a:ext cx="1867393" cy="1867393"/>
          </a:xfrm>
          <a:prstGeom prst="ellipse">
            <a:avLst/>
          </a:prstGeom>
          <a:solidFill>
            <a:srgbClr val="0055B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73" name="Ellipse 72"/>
          <p:cNvSpPr/>
          <p:nvPr/>
        </p:nvSpPr>
        <p:spPr bwMode="gray">
          <a:xfrm>
            <a:off x="6711670" y="3212976"/>
            <a:ext cx="1867393" cy="1867393"/>
          </a:xfrm>
          <a:prstGeom prst="ellipse">
            <a:avLst/>
          </a:prstGeom>
          <a:solidFill>
            <a:srgbClr val="0055B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75" name="Ellipse 74"/>
          <p:cNvSpPr/>
          <p:nvPr/>
        </p:nvSpPr>
        <p:spPr bwMode="gray">
          <a:xfrm>
            <a:off x="3032955" y="3224376"/>
            <a:ext cx="1867393" cy="1867393"/>
          </a:xfrm>
          <a:prstGeom prst="ellipse">
            <a:avLst/>
          </a:prstGeom>
          <a:solidFill>
            <a:srgbClr val="0055B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>
                <a:solidFill>
                  <a:schemeClr val="bg1"/>
                </a:solidFill>
              </a:rPr>
              <a:t>     </a:t>
            </a:r>
          </a:p>
        </p:txBody>
      </p:sp>
      <p:sp>
        <p:nvSpPr>
          <p:cNvPr id="76" name="Ellipse 75"/>
          <p:cNvSpPr/>
          <p:nvPr/>
        </p:nvSpPr>
        <p:spPr bwMode="gray">
          <a:xfrm>
            <a:off x="3724416" y="1095492"/>
            <a:ext cx="1867393" cy="1867393"/>
          </a:xfrm>
          <a:prstGeom prst="ellipse">
            <a:avLst/>
          </a:prstGeom>
          <a:solidFill>
            <a:srgbClr val="0055B4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  <a:buSzPct val="100000"/>
            </a:pPr>
            <a:r>
              <a:rPr lang="en-GB" sz="1600">
                <a:solidFill>
                  <a:schemeClr val="bg1"/>
                </a:solidFill>
              </a:rPr>
              <a:t>     </a:t>
            </a:r>
          </a:p>
        </p:txBody>
      </p:sp>
      <p:grpSp>
        <p:nvGrpSpPr>
          <p:cNvPr id="84" name="Gruppieren 83"/>
          <p:cNvGrpSpPr/>
          <p:nvPr/>
        </p:nvGrpSpPr>
        <p:grpSpPr>
          <a:xfrm>
            <a:off x="3763751" y="1458195"/>
            <a:ext cx="1028068" cy="1028068"/>
            <a:chOff x="2351584" y="2151599"/>
            <a:chExt cx="892706" cy="892706"/>
          </a:xfrm>
        </p:grpSpPr>
        <p:sp>
          <p:nvSpPr>
            <p:cNvPr id="85" name="Ellipse 84"/>
            <p:cNvSpPr/>
            <p:nvPr/>
          </p:nvSpPr>
          <p:spPr bwMode="gray">
            <a:xfrm>
              <a:off x="2351584" y="2151599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86" name="Inhaltsplatzhalter 2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9382" y="2286162"/>
              <a:ext cx="317109" cy="669453"/>
            </a:xfrm>
            <a:prstGeom prst="rect">
              <a:avLst/>
            </a:prstGeom>
          </p:spPr>
        </p:pic>
      </p:grpSp>
      <p:grpSp>
        <p:nvGrpSpPr>
          <p:cNvPr id="87" name="Gruppieren 86"/>
          <p:cNvGrpSpPr/>
          <p:nvPr/>
        </p:nvGrpSpPr>
        <p:grpSpPr>
          <a:xfrm>
            <a:off x="4501089" y="1458195"/>
            <a:ext cx="1028068" cy="1028068"/>
            <a:chOff x="3359696" y="2151599"/>
            <a:chExt cx="892706" cy="892706"/>
          </a:xfrm>
        </p:grpSpPr>
        <p:sp>
          <p:nvSpPr>
            <p:cNvPr id="88" name="Ellipse 87"/>
            <p:cNvSpPr/>
            <p:nvPr/>
          </p:nvSpPr>
          <p:spPr bwMode="gray">
            <a:xfrm>
              <a:off x="3359696" y="2151599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89" name="Grafik 8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8827" y="2351502"/>
              <a:ext cx="674443" cy="538772"/>
            </a:xfrm>
            <a:prstGeom prst="rect">
              <a:avLst/>
            </a:prstGeom>
          </p:spPr>
        </p:pic>
      </p:grpSp>
      <p:grpSp>
        <p:nvGrpSpPr>
          <p:cNvPr id="90" name="Gruppieren 89"/>
          <p:cNvGrpSpPr/>
          <p:nvPr/>
        </p:nvGrpSpPr>
        <p:grpSpPr>
          <a:xfrm>
            <a:off x="3531881" y="3269155"/>
            <a:ext cx="896154" cy="896154"/>
            <a:chOff x="1919536" y="3907161"/>
            <a:chExt cx="892706" cy="892706"/>
          </a:xfrm>
        </p:grpSpPr>
        <p:sp>
          <p:nvSpPr>
            <p:cNvPr id="91" name="Ellipse 90"/>
            <p:cNvSpPr/>
            <p:nvPr/>
          </p:nvSpPr>
          <p:spPr bwMode="gray">
            <a:xfrm>
              <a:off x="1919536" y="3907161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2" name="Grafik 91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067546" y="4081677"/>
              <a:ext cx="576064" cy="576064"/>
            </a:xfrm>
            <a:prstGeom prst="rect">
              <a:avLst/>
            </a:prstGeom>
          </p:spPr>
        </p:pic>
      </p:grpSp>
      <p:grpSp>
        <p:nvGrpSpPr>
          <p:cNvPr id="93" name="Gruppieren 92"/>
          <p:cNvGrpSpPr/>
          <p:nvPr/>
        </p:nvGrpSpPr>
        <p:grpSpPr>
          <a:xfrm>
            <a:off x="3139704" y="3885052"/>
            <a:ext cx="896154" cy="896154"/>
            <a:chOff x="2918250" y="3923356"/>
            <a:chExt cx="892706" cy="892706"/>
          </a:xfrm>
        </p:grpSpPr>
        <p:sp>
          <p:nvSpPr>
            <p:cNvPr id="94" name="Ellipse 93"/>
            <p:cNvSpPr/>
            <p:nvPr/>
          </p:nvSpPr>
          <p:spPr bwMode="gray">
            <a:xfrm>
              <a:off x="2918250" y="3923356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5" name="Grafik 94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152239" y="4081677"/>
              <a:ext cx="423283" cy="605995"/>
            </a:xfrm>
            <a:prstGeom prst="rect">
              <a:avLst/>
            </a:prstGeom>
          </p:spPr>
        </p:pic>
      </p:grpSp>
      <p:grpSp>
        <p:nvGrpSpPr>
          <p:cNvPr id="96" name="Gruppieren 95"/>
          <p:cNvGrpSpPr/>
          <p:nvPr/>
        </p:nvGrpSpPr>
        <p:grpSpPr>
          <a:xfrm>
            <a:off x="3877203" y="3909429"/>
            <a:ext cx="896154" cy="896154"/>
            <a:chOff x="3916964" y="3919383"/>
            <a:chExt cx="892706" cy="892706"/>
          </a:xfrm>
        </p:grpSpPr>
        <p:sp>
          <p:nvSpPr>
            <p:cNvPr id="97" name="Ellipse 96"/>
            <p:cNvSpPr/>
            <p:nvPr/>
          </p:nvSpPr>
          <p:spPr bwMode="gray">
            <a:xfrm>
              <a:off x="3916964" y="3919383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98" name="Grafik 97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157141" y="4062738"/>
              <a:ext cx="423283" cy="605995"/>
            </a:xfrm>
            <a:prstGeom prst="rect">
              <a:avLst/>
            </a:prstGeom>
          </p:spPr>
        </p:pic>
      </p:grpSp>
      <p:grpSp>
        <p:nvGrpSpPr>
          <p:cNvPr id="99" name="Gruppieren 98"/>
          <p:cNvGrpSpPr/>
          <p:nvPr/>
        </p:nvGrpSpPr>
        <p:grpSpPr>
          <a:xfrm>
            <a:off x="7114957" y="3608996"/>
            <a:ext cx="1060820" cy="1060820"/>
            <a:chOff x="10537286" y="3941323"/>
            <a:chExt cx="892706" cy="892706"/>
          </a:xfrm>
        </p:grpSpPr>
        <p:sp>
          <p:nvSpPr>
            <p:cNvPr id="100" name="Ellipse 99"/>
            <p:cNvSpPr/>
            <p:nvPr/>
          </p:nvSpPr>
          <p:spPr bwMode="gray">
            <a:xfrm>
              <a:off x="10537286" y="3941323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1" name="Grafik 10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59603" y="4172708"/>
              <a:ext cx="648072" cy="429936"/>
            </a:xfrm>
            <a:prstGeom prst="rect">
              <a:avLst/>
            </a:prstGeom>
          </p:spPr>
        </p:pic>
      </p:grpSp>
      <p:grpSp>
        <p:nvGrpSpPr>
          <p:cNvPr id="102" name="Gruppieren 101"/>
          <p:cNvGrpSpPr/>
          <p:nvPr/>
        </p:nvGrpSpPr>
        <p:grpSpPr>
          <a:xfrm>
            <a:off x="6439003" y="1510240"/>
            <a:ext cx="1037895" cy="1037895"/>
            <a:chOff x="10537286" y="2135545"/>
            <a:chExt cx="892706" cy="892706"/>
          </a:xfrm>
        </p:grpSpPr>
        <p:sp>
          <p:nvSpPr>
            <p:cNvPr id="103" name="Ellipse 102"/>
            <p:cNvSpPr/>
            <p:nvPr/>
          </p:nvSpPr>
          <p:spPr bwMode="gray">
            <a:xfrm>
              <a:off x="10537286" y="2135545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4" name="Grafik 103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768057" y="2279497"/>
              <a:ext cx="522840" cy="576064"/>
            </a:xfrm>
            <a:prstGeom prst="rect">
              <a:avLst/>
            </a:prstGeom>
          </p:spPr>
        </p:pic>
      </p:grpSp>
      <p:grpSp>
        <p:nvGrpSpPr>
          <p:cNvPr id="105" name="Gruppieren 104"/>
          <p:cNvGrpSpPr/>
          <p:nvPr/>
        </p:nvGrpSpPr>
        <p:grpSpPr>
          <a:xfrm>
            <a:off x="5252777" y="4979784"/>
            <a:ext cx="1060820" cy="1060820"/>
            <a:chOff x="6936836" y="3904407"/>
            <a:chExt cx="892706" cy="892706"/>
          </a:xfrm>
        </p:grpSpPr>
        <p:sp>
          <p:nvSpPr>
            <p:cNvPr id="106" name="Ellipse 105"/>
            <p:cNvSpPr/>
            <p:nvPr/>
          </p:nvSpPr>
          <p:spPr bwMode="gray">
            <a:xfrm>
              <a:off x="6936836" y="3904407"/>
              <a:ext cx="892706" cy="892706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10000"/>
                </a:lnSpc>
                <a:buSzPct val="100000"/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pic>
          <p:nvPicPr>
            <p:cNvPr id="107" name="Grafik 106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198536" y="4002184"/>
              <a:ext cx="392083" cy="699512"/>
            </a:xfrm>
            <a:prstGeom prst="rect">
              <a:avLst/>
            </a:prstGeom>
          </p:spPr>
        </p:pic>
      </p:grpSp>
      <p:sp>
        <p:nvSpPr>
          <p:cNvPr id="108" name="Rechteck 107"/>
          <p:cNvSpPr/>
          <p:nvPr/>
        </p:nvSpPr>
        <p:spPr>
          <a:xfrm>
            <a:off x="1087888" y="1673346"/>
            <a:ext cx="2607006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r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hu-HU" sz="1600" dirty="0"/>
              <a:t>Költségmegosztó</a:t>
            </a:r>
            <a:endParaRPr lang="en-GB" sz="1600" dirty="0"/>
          </a:p>
          <a:p>
            <a:pPr marL="171450" indent="-171450" algn="r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hu-HU" sz="1600" dirty="0"/>
              <a:t>Vízmérő rádiós modul</a:t>
            </a:r>
            <a:endParaRPr lang="en-GB" sz="1600" dirty="0"/>
          </a:p>
        </p:txBody>
      </p:sp>
      <p:sp>
        <p:nvSpPr>
          <p:cNvPr id="109" name="Rechteck 108"/>
          <p:cNvSpPr/>
          <p:nvPr/>
        </p:nvSpPr>
        <p:spPr>
          <a:xfrm>
            <a:off x="490512" y="3434797"/>
            <a:ext cx="2534921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10000"/>
              </a:lnSpc>
              <a:buSzPct val="100000"/>
            </a:pPr>
            <a:r>
              <a:rPr lang="en-GB" sz="1600" i="1" dirty="0" err="1"/>
              <a:t>sensonic</a:t>
            </a:r>
            <a:r>
              <a:rPr lang="en-GB" sz="1600" i="1" dirty="0"/>
              <a:t> 3</a:t>
            </a:r>
          </a:p>
          <a:p>
            <a:pPr marL="171450" indent="-171450" algn="r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hu-HU" sz="1600" dirty="0"/>
              <a:t>Kompakt hőmennyiségmérő</a:t>
            </a:r>
            <a:endParaRPr lang="en-GB" sz="1600" dirty="0"/>
          </a:p>
          <a:p>
            <a:pPr marL="171450" indent="-171450" algn="r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hu-HU" sz="1600" dirty="0"/>
              <a:t>Kalkulátor</a:t>
            </a:r>
            <a:endParaRPr lang="en-GB" sz="1600" dirty="0"/>
          </a:p>
          <a:p>
            <a:pPr marL="171450" indent="-171450" algn="r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hu-HU" sz="1600" dirty="0"/>
              <a:t>Impulzus számláló</a:t>
            </a:r>
            <a:endParaRPr lang="en-GB" sz="1600" dirty="0"/>
          </a:p>
          <a:p>
            <a:pPr algn="r">
              <a:lnSpc>
                <a:spcPct val="110000"/>
              </a:lnSpc>
              <a:buSzPct val="100000"/>
            </a:pPr>
            <a:endParaRPr lang="en-GB" sz="1600" b="1" dirty="0"/>
          </a:p>
        </p:txBody>
      </p:sp>
      <p:sp>
        <p:nvSpPr>
          <p:cNvPr id="110" name="Rechteck 109"/>
          <p:cNvSpPr/>
          <p:nvPr/>
        </p:nvSpPr>
        <p:spPr>
          <a:xfrm>
            <a:off x="6693023" y="5197912"/>
            <a:ext cx="2558177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SzPct val="100000"/>
            </a:pPr>
            <a:r>
              <a:rPr lang="hu-HU" sz="1600" i="1" dirty="0"/>
              <a:t>Adatgyűjtő</a:t>
            </a:r>
            <a:endParaRPr lang="en-GB" sz="1600" i="1" dirty="0"/>
          </a:p>
          <a:p>
            <a:pPr marL="171450" indent="-171450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1600" dirty="0"/>
              <a:t>ista G2.x</a:t>
            </a:r>
          </a:p>
        </p:txBody>
      </p:sp>
      <p:sp>
        <p:nvSpPr>
          <p:cNvPr id="111" name="Rechteck 110"/>
          <p:cNvSpPr/>
          <p:nvPr/>
        </p:nvSpPr>
        <p:spPr>
          <a:xfrm>
            <a:off x="8525788" y="3822395"/>
            <a:ext cx="308441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>
              <a:lnSpc>
                <a:spcPct val="110000"/>
              </a:lnSpc>
              <a:buSzPct val="100000"/>
            </a:pPr>
            <a:r>
              <a:rPr lang="hu-HU" sz="1600" i="1" dirty="0"/>
              <a:t>Füstérzékelő</a:t>
            </a:r>
            <a:endParaRPr lang="en-GB" sz="1600" i="1" dirty="0"/>
          </a:p>
          <a:p>
            <a:pPr marL="180000" indent="-180000">
              <a:lnSpc>
                <a:spcPct val="110000"/>
              </a:lnSpc>
              <a:buClr>
                <a:srgbClr val="0A286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600" dirty="0"/>
              <a:t>EI6500-OMS</a:t>
            </a:r>
          </a:p>
        </p:txBody>
      </p:sp>
      <p:sp>
        <p:nvSpPr>
          <p:cNvPr id="112" name="Rechteck 111"/>
          <p:cNvSpPr/>
          <p:nvPr/>
        </p:nvSpPr>
        <p:spPr>
          <a:xfrm>
            <a:off x="7891646" y="1534001"/>
            <a:ext cx="2736150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buSzPct val="100000"/>
            </a:pPr>
            <a:r>
              <a:rPr lang="en-GB" sz="1600" i="1" dirty="0" err="1"/>
              <a:t>ultego</a:t>
            </a:r>
            <a:r>
              <a:rPr lang="en-GB" sz="1600" i="1" dirty="0"/>
              <a:t> 3</a:t>
            </a:r>
          </a:p>
          <a:p>
            <a:pPr marL="171450" indent="-171450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1600" dirty="0" err="1"/>
              <a:t>ultego</a:t>
            </a:r>
            <a:r>
              <a:rPr lang="en-GB" sz="1600" dirty="0"/>
              <a:t> 3 smart</a:t>
            </a:r>
            <a:r>
              <a:rPr lang="hu-HU" sz="1600" dirty="0"/>
              <a:t> hőmennyiségmérő</a:t>
            </a:r>
            <a:endParaRPr lang="en-GB" sz="1600" b="1" dirty="0"/>
          </a:p>
        </p:txBody>
      </p:sp>
    </p:spTree>
    <p:extLst>
      <p:ext uri="{BB962C8B-B14F-4D97-AF65-F5344CB8AC3E}">
        <p14:creationId xmlns:p14="http://schemas.microsoft.com/office/powerpoint/2010/main" val="1537324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sta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1"/>
        </a:solidFill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10000"/>
          </a:lnSpc>
          <a:buSzPct val="100000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16000" indent="-216000" algn="l">
          <a:lnSpc>
            <a:spcPct val="110000"/>
          </a:lnSpc>
          <a:spcBef>
            <a:spcPts val="600"/>
          </a:spcBef>
          <a:buClr>
            <a:schemeClr val="bg2"/>
          </a:buClr>
          <a:buSzPct val="100000"/>
          <a:buFont typeface="Wingdings 2" panose="05020102010507070707" pitchFamily="18" charset="2"/>
          <a:buChar char="¡"/>
          <a:defRPr sz="1600" dirty="0" err="1" smtClean="0"/>
        </a:defPPr>
      </a:lstStyle>
    </a:txDef>
  </a:objectDefaults>
  <a:extraClrSchemeLst/>
  <a:custClrLst>
    <a:custClr name="132">
      <a:srgbClr val="84B400"/>
    </a:custClr>
    <a:custClr name="157">
      <a:srgbClr val="9DC333"/>
    </a:custClr>
    <a:custClr name="181">
      <a:srgbClr val="B5D266"/>
    </a:custClr>
    <a:custClr name="206">
      <a:srgbClr val="CEE199"/>
    </a:custClr>
    <a:custClr name="230">
      <a:srgbClr val="E6F0CC"/>
    </a:custClr>
    <a:custClr name="242">
      <a:srgbClr val="F2F7E5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230">
      <a:srgbClr val="E63F0C"/>
    </a:custClr>
    <a:custClr name="235">
      <a:srgbClr val="EB653D"/>
    </a:custClr>
    <a:custClr name="240">
      <a:srgbClr val="F08C6D"/>
    </a:custClr>
    <a:custClr name="245">
      <a:srgbClr val="F5B29E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242">
      <a:srgbClr val="F2AF00"/>
    </a:custClr>
    <a:custClr name="245">
      <a:srgbClr val="F5BF33"/>
    </a:custClr>
    <a:custClr name="247">
      <a:srgbClr val="F7CF66"/>
    </a:custClr>
    <a:custClr name="250">
      <a:srgbClr val="FADF99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</a:custClrLst>
  <a:extLst>
    <a:ext uri="{05A4C25C-085E-4340-85A3-A5531E510DB2}">
      <thm15:themeFamily xmlns:thm15="http://schemas.microsoft.com/office/thememl/2012/main" name="Präsentation4" id="{7C5451FE-1EBA-47D1-9C29-DF01312A943B}" vid="{172E0D6D-6E90-42F0-8B2F-B8579A0BED44}"/>
    </a:ext>
  </a:extLst>
</a:theme>
</file>

<file path=ppt/theme/theme2.xml><?xml version="1.0" encoding="utf-8"?>
<a:theme xmlns:a="http://schemas.openxmlformats.org/drawingml/2006/main" name="Office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9_ista_neuer pptx Master_final_Version Standard Deck</Template>
  <TotalTime>246</TotalTime>
  <Words>1688</Words>
  <Application>Microsoft Macintosh PowerPoint</Application>
  <PresentationFormat>Szélesvásznú</PresentationFormat>
  <Paragraphs>259</Paragraphs>
  <Slides>24</Slides>
  <Notes>23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5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24</vt:i4>
      </vt:variant>
    </vt:vector>
  </HeadingPairs>
  <TitlesOfParts>
    <vt:vector size="31" baseType="lpstr">
      <vt:lpstr>Arial</vt:lpstr>
      <vt:lpstr>Arial Black</vt:lpstr>
      <vt:lpstr>Ista TheSans Bold</vt:lpstr>
      <vt:lpstr>Wingdings</vt:lpstr>
      <vt:lpstr>Wingdings 2</vt:lpstr>
      <vt:lpstr>ista</vt:lpstr>
      <vt:lpstr>think-cell Folie</vt:lpstr>
      <vt:lpstr>PowerPoint-bemutató</vt:lpstr>
      <vt:lpstr>Üzenet a jövőből Innovatív mérési megoldások</vt:lpstr>
      <vt:lpstr> OMS / Vezeték nélküli M-Bus</vt:lpstr>
      <vt:lpstr>PowerPoint-bemutató</vt:lpstr>
      <vt:lpstr>Mi az OMS és Vezeték nélküli M-Bus?</vt:lpstr>
      <vt:lpstr>Minden eszköz ugyanazt a nyelvet „beszéli” </vt:lpstr>
      <vt:lpstr>Tipikus alkalmazási területek</vt:lpstr>
      <vt:lpstr>PowerPoint-bemutató</vt:lpstr>
      <vt:lpstr>OMS termékek az ista-tól</vt:lpstr>
      <vt:lpstr>PowerPoint-bemutató</vt:lpstr>
      <vt:lpstr>OMS Rendszer felépítés</vt:lpstr>
      <vt:lpstr>PowerPoint-bemutató</vt:lpstr>
      <vt:lpstr>A fix adatgyűjtők telepítése – épület alagsorral/pincével</vt:lpstr>
      <vt:lpstr>A fix adatgyűjtők telepítése – épület alagsor/pince nélkül</vt:lpstr>
      <vt:lpstr>AMM rádiós rendszer (automated meter management) vs wM-Bus </vt:lpstr>
      <vt:lpstr>PowerPoint-bemutató</vt:lpstr>
      <vt:lpstr>                                                                                        hőközponti méréseinek korszerűsítésE </vt:lpstr>
      <vt:lpstr>PowerPoint-bemutató</vt:lpstr>
      <vt:lpstr>PowerPoint-bemutató</vt:lpstr>
      <vt:lpstr>PowerPoint-bemutató</vt:lpstr>
      <vt:lpstr>Rendszerelemek – végponti mérőeszközök, vezeték nélküli M-Bus</vt:lpstr>
      <vt:lpstr>Rendszerelemek – végponti mérőeszközök, M-Bus</vt:lpstr>
      <vt:lpstr>A Jövő elkezdődött… Köszönöm a figyelmet!</vt:lpstr>
      <vt:lpstr>PowerPoint-bemutató</vt:lpstr>
    </vt:vector>
  </TitlesOfParts>
  <Company>ista international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Deck</dc:title>
  <dc:creator>Hofmijster, Christian</dc:creator>
  <dc:description>Office 2016</dc:description>
  <cp:lastModifiedBy>Nagy Edit</cp:lastModifiedBy>
  <cp:revision>30</cp:revision>
  <dcterms:created xsi:type="dcterms:W3CDTF">2019-11-21T15:04:37Z</dcterms:created>
  <dcterms:modified xsi:type="dcterms:W3CDTF">2022-02-16T08:51:22Z</dcterms:modified>
</cp:coreProperties>
</file>